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HEIC" ContentType="image/heic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721" r:id="rId5"/>
    <p:sldMasterId id="2147483648" r:id="rId6"/>
  </p:sldMasterIdLst>
  <p:notesMasterIdLst>
    <p:notesMasterId r:id="rId27"/>
  </p:notesMasterIdLst>
  <p:sldIdLst>
    <p:sldId id="2147479951" r:id="rId7"/>
    <p:sldId id="2147480008" r:id="rId8"/>
    <p:sldId id="2147480026" r:id="rId9"/>
    <p:sldId id="2147480030" r:id="rId10"/>
    <p:sldId id="2147480027" r:id="rId11"/>
    <p:sldId id="2147480028" r:id="rId12"/>
    <p:sldId id="2147480029" r:id="rId13"/>
    <p:sldId id="2147479981" r:id="rId14"/>
    <p:sldId id="2147480002" r:id="rId15"/>
    <p:sldId id="2147480031" r:id="rId16"/>
    <p:sldId id="2147480011" r:id="rId17"/>
    <p:sldId id="2147480005" r:id="rId18"/>
    <p:sldId id="2147479980" r:id="rId19"/>
    <p:sldId id="2147480006" r:id="rId20"/>
    <p:sldId id="2147480017" r:id="rId21"/>
    <p:sldId id="2147479988" r:id="rId22"/>
    <p:sldId id="2147480016" r:id="rId23"/>
    <p:sldId id="2147480022" r:id="rId24"/>
    <p:sldId id="2147480032" r:id="rId25"/>
    <p:sldId id="2147480024" r:id="rId26"/>
  </p:sldIdLst>
  <p:sldSz cx="12192000" cy="6858000"/>
  <p:notesSz cx="6858000" cy="9144000"/>
  <p:custDataLst>
    <p:tags r:id="rId28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537931A-3329-3D60-4D3E-5925433EABF4}" name="Prus, Tomasz" initials="PT" userId="S::t37119@eon.com::0ecfdf02-2359-4c95-8b9d-5cc74d8de479" providerId="AD"/>
  <p188:author id="{112DC21B-AD2C-B795-8A72-BEF88C18484F}" name="Sokołowska, Joanna" initials="SJ" userId="S::j63686@eon.com::eb4aaa38-3ba6-4077-9dbe-ebf2b69c3375" providerId="AD"/>
  <p188:author id="{7927D856-0F67-3091-E834-DEE32A8EDAAC}" name="Bitner, Leszek" initials="BL" userId="S::L24967@eon.com::d481b959-513d-4167-98ed-32e13f565a35" providerId="AD"/>
  <p188:author id="{43F0985D-9C41-EB1E-66B6-28CE470FC1F8}" name="Kuba-Władzińska, Elżbieta" initials="KWE" userId="S::E19546@eon.com::552df780-73c8-44db-a125-aa572d6bd18c" providerId="AD"/>
  <p188:author id="{1E12DD8F-049C-5E00-0E7E-09813BD2B7FC}" name="Szczęsny, Artur" initials="SA" userId="S::A57064@eon.com::a2652f9f-6d6b-4d13-baf1-33eb4b2c41aa" providerId="AD"/>
  <p188:author id="{72F34193-A50B-0034-476B-26A811DE36FB}" name="Sokołowska, Joanna" initials="JS" userId="S::J63686@eon.com::eb4aaa38-3ba6-4077-9dbe-ebf2b69c3375" providerId="AD"/>
  <p188:author id="{C9EEF1D3-3D7A-6AD4-CAD2-79F947A2F329}" name="Malec, Andrzej" initials="AM" userId="S::A55811@eon.com::e7f205be-9dc1-4019-b8a6-d4dc24c1b8e5" providerId="AD"/>
  <p188:author id="{C1CEB4E5-E288-7013-A4F6-485967778F28}" name="Prus, Tomasz" initials="TP" userId="S::T37119@eon.com::0ecfdf02-2359-4c95-8b9d-5cc74d8de47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ieślak, Marcin" initials="CM" lastIdx="12" clrIdx="0">
    <p:extLst>
      <p:ext uri="{19B8F6BF-5375-455C-9EA6-DF929625EA0E}">
        <p15:presenceInfo xmlns:p15="http://schemas.microsoft.com/office/powerpoint/2012/main" userId="Cieślak, Marc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4E41"/>
    <a:srgbClr val="B00402"/>
    <a:srgbClr val="C41708"/>
    <a:srgbClr val="D7D0CC"/>
    <a:srgbClr val="F8F5F2"/>
    <a:srgbClr val="A5A19F"/>
    <a:srgbClr val="1E5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652DD1-5F25-43FD-A0F1-24099ABD6BA1}" v="10" dt="2025-10-21T08:13:11.6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Styl pośredni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584" autoAdjust="0"/>
  </p:normalViewPr>
  <p:slideViewPr>
    <p:cSldViewPr snapToGrid="0">
      <p:cViewPr varScale="1">
        <p:scale>
          <a:sx n="75" d="100"/>
          <a:sy n="75" d="100"/>
        </p:scale>
        <p:origin x="72" y="3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gs" Target="tags/tag1.xml"/><Relationship Id="rId36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kołowska, Joanna" userId="eb4aaa38-3ba6-4077-9dbe-ebf2b69c3375" providerId="ADAL" clId="{0D652DD1-5F25-43FD-A0F1-24099ABD6BA1}"/>
    <pc:docChg chg="undo custSel addSld delSld modSld sldOrd">
      <pc:chgData name="Sokołowska, Joanna" userId="eb4aaa38-3ba6-4077-9dbe-ebf2b69c3375" providerId="ADAL" clId="{0D652DD1-5F25-43FD-A0F1-24099ABD6BA1}" dt="2025-10-21T08:13:19.352" v="323" actId="47"/>
      <pc:docMkLst>
        <pc:docMk/>
      </pc:docMkLst>
      <pc:sldChg chg="ord">
        <pc:chgData name="Sokołowska, Joanna" userId="eb4aaa38-3ba6-4077-9dbe-ebf2b69c3375" providerId="ADAL" clId="{0D652DD1-5F25-43FD-A0F1-24099ABD6BA1}" dt="2025-10-20T07:01:54.966" v="1"/>
        <pc:sldMkLst>
          <pc:docMk/>
          <pc:sldMk cId="837893589" sldId="2147479980"/>
        </pc:sldMkLst>
      </pc:sldChg>
      <pc:sldChg chg="ord">
        <pc:chgData name="Sokołowska, Joanna" userId="eb4aaa38-3ba6-4077-9dbe-ebf2b69c3375" providerId="ADAL" clId="{0D652DD1-5F25-43FD-A0F1-24099ABD6BA1}" dt="2025-10-20T07:01:54.966" v="1"/>
        <pc:sldMkLst>
          <pc:docMk/>
          <pc:sldMk cId="3881687983" sldId="2147479981"/>
        </pc:sldMkLst>
      </pc:sldChg>
      <pc:sldChg chg="modSp mod">
        <pc:chgData name="Sokołowska, Joanna" userId="eb4aaa38-3ba6-4077-9dbe-ebf2b69c3375" providerId="ADAL" clId="{0D652DD1-5F25-43FD-A0F1-24099ABD6BA1}" dt="2025-10-20T07:49:44.497" v="284" actId="20577"/>
        <pc:sldMkLst>
          <pc:docMk/>
          <pc:sldMk cId="3663943943" sldId="2147479988"/>
        </pc:sldMkLst>
        <pc:spChg chg="mod">
          <ac:chgData name="Sokołowska, Joanna" userId="eb4aaa38-3ba6-4077-9dbe-ebf2b69c3375" providerId="ADAL" clId="{0D652DD1-5F25-43FD-A0F1-24099ABD6BA1}" dt="2025-10-20T07:49:44.497" v="284" actId="20577"/>
          <ac:spMkLst>
            <pc:docMk/>
            <pc:sldMk cId="3663943943" sldId="2147479988"/>
            <ac:spMk id="11" creationId="{601CACCD-0446-63DC-1724-50C90E7CEAB7}"/>
          </ac:spMkLst>
        </pc:spChg>
      </pc:sldChg>
      <pc:sldChg chg="modSp mod ord">
        <pc:chgData name="Sokołowska, Joanna" userId="eb4aaa38-3ba6-4077-9dbe-ebf2b69c3375" providerId="ADAL" clId="{0D652DD1-5F25-43FD-A0F1-24099ABD6BA1}" dt="2025-10-20T07:39:05.023" v="117" actId="14100"/>
        <pc:sldMkLst>
          <pc:docMk/>
          <pc:sldMk cId="3644271236" sldId="2147480002"/>
        </pc:sldMkLst>
        <pc:spChg chg="mod">
          <ac:chgData name="Sokołowska, Joanna" userId="eb4aaa38-3ba6-4077-9dbe-ebf2b69c3375" providerId="ADAL" clId="{0D652DD1-5F25-43FD-A0F1-24099ABD6BA1}" dt="2025-10-20T07:39:05.023" v="117" actId="14100"/>
          <ac:spMkLst>
            <pc:docMk/>
            <pc:sldMk cId="3644271236" sldId="2147480002"/>
            <ac:spMk id="13" creationId="{84BF40C4-DB8A-B781-1F9B-79A9962F1BFF}"/>
          </ac:spMkLst>
        </pc:spChg>
        <pc:picChg chg="mod">
          <ac:chgData name="Sokołowska, Joanna" userId="eb4aaa38-3ba6-4077-9dbe-ebf2b69c3375" providerId="ADAL" clId="{0D652DD1-5F25-43FD-A0F1-24099ABD6BA1}" dt="2025-10-20T07:38:55.894" v="115" actId="1076"/>
          <ac:picMkLst>
            <pc:docMk/>
            <pc:sldMk cId="3644271236" sldId="2147480002"/>
            <ac:picMk id="4" creationId="{6E74C75D-FA26-C30E-3A6A-3B645F5B5118}"/>
          </ac:picMkLst>
        </pc:picChg>
      </pc:sldChg>
      <pc:sldChg chg="ord">
        <pc:chgData name="Sokołowska, Joanna" userId="eb4aaa38-3ba6-4077-9dbe-ebf2b69c3375" providerId="ADAL" clId="{0D652DD1-5F25-43FD-A0F1-24099ABD6BA1}" dt="2025-10-20T07:01:54.966" v="1"/>
        <pc:sldMkLst>
          <pc:docMk/>
          <pc:sldMk cId="2569026478" sldId="2147480005"/>
        </pc:sldMkLst>
      </pc:sldChg>
      <pc:sldChg chg="ord">
        <pc:chgData name="Sokołowska, Joanna" userId="eb4aaa38-3ba6-4077-9dbe-ebf2b69c3375" providerId="ADAL" clId="{0D652DD1-5F25-43FD-A0F1-24099ABD6BA1}" dt="2025-10-20T07:01:54.966" v="1"/>
        <pc:sldMkLst>
          <pc:docMk/>
          <pc:sldMk cId="3369869232" sldId="2147480006"/>
        </pc:sldMkLst>
      </pc:sldChg>
      <pc:sldChg chg="ord">
        <pc:chgData name="Sokołowska, Joanna" userId="eb4aaa38-3ba6-4077-9dbe-ebf2b69c3375" providerId="ADAL" clId="{0D652DD1-5F25-43FD-A0F1-24099ABD6BA1}" dt="2025-10-20T07:01:54.966" v="1"/>
        <pc:sldMkLst>
          <pc:docMk/>
          <pc:sldMk cId="4023894051" sldId="2147480008"/>
        </pc:sldMkLst>
      </pc:sldChg>
      <pc:sldChg chg="ord">
        <pc:chgData name="Sokołowska, Joanna" userId="eb4aaa38-3ba6-4077-9dbe-ebf2b69c3375" providerId="ADAL" clId="{0D652DD1-5F25-43FD-A0F1-24099ABD6BA1}" dt="2025-10-20T07:01:54.966" v="1"/>
        <pc:sldMkLst>
          <pc:docMk/>
          <pc:sldMk cId="2826164448" sldId="2147480011"/>
        </pc:sldMkLst>
      </pc:sldChg>
      <pc:sldChg chg="modSp del mod ord">
        <pc:chgData name="Sokołowska, Joanna" userId="eb4aaa38-3ba6-4077-9dbe-ebf2b69c3375" providerId="ADAL" clId="{0D652DD1-5F25-43FD-A0F1-24099ABD6BA1}" dt="2025-10-20T07:30:50.344" v="25" actId="47"/>
        <pc:sldMkLst>
          <pc:docMk/>
          <pc:sldMk cId="544665633" sldId="2147480012"/>
        </pc:sldMkLst>
        <pc:graphicFrameChg chg="modGraphic">
          <ac:chgData name="Sokołowska, Joanna" userId="eb4aaa38-3ba6-4077-9dbe-ebf2b69c3375" providerId="ADAL" clId="{0D652DD1-5F25-43FD-A0F1-24099ABD6BA1}" dt="2025-10-20T07:05:31.804" v="22" actId="20577"/>
          <ac:graphicFrameMkLst>
            <pc:docMk/>
            <pc:sldMk cId="544665633" sldId="2147480012"/>
            <ac:graphicFrameMk id="10" creationId="{ABB0FFCB-1870-748B-8E93-B946E077DDE8}"/>
          </ac:graphicFrameMkLst>
        </pc:graphicFrameChg>
      </pc:sldChg>
      <pc:sldChg chg="del">
        <pc:chgData name="Sokołowska, Joanna" userId="eb4aaa38-3ba6-4077-9dbe-ebf2b69c3375" providerId="ADAL" clId="{0D652DD1-5F25-43FD-A0F1-24099ABD6BA1}" dt="2025-10-20T07:44:01.247" v="201" actId="47"/>
        <pc:sldMkLst>
          <pc:docMk/>
          <pc:sldMk cId="3125251062" sldId="2147480013"/>
        </pc:sldMkLst>
      </pc:sldChg>
      <pc:sldChg chg="del">
        <pc:chgData name="Sokołowska, Joanna" userId="eb4aaa38-3ba6-4077-9dbe-ebf2b69c3375" providerId="ADAL" clId="{0D652DD1-5F25-43FD-A0F1-24099ABD6BA1}" dt="2025-10-20T07:43:59.412" v="200" actId="47"/>
        <pc:sldMkLst>
          <pc:docMk/>
          <pc:sldMk cId="4018487439" sldId="2147480015"/>
        </pc:sldMkLst>
      </pc:sldChg>
      <pc:sldChg chg="ord">
        <pc:chgData name="Sokołowska, Joanna" userId="eb4aaa38-3ba6-4077-9dbe-ebf2b69c3375" providerId="ADAL" clId="{0D652DD1-5F25-43FD-A0F1-24099ABD6BA1}" dt="2025-10-20T07:43:50.237" v="199"/>
        <pc:sldMkLst>
          <pc:docMk/>
          <pc:sldMk cId="590897428" sldId="2147480016"/>
        </pc:sldMkLst>
      </pc:sldChg>
      <pc:sldChg chg="delSp modSp mod">
        <pc:chgData name="Sokołowska, Joanna" userId="eb4aaa38-3ba6-4077-9dbe-ebf2b69c3375" providerId="ADAL" clId="{0D652DD1-5F25-43FD-A0F1-24099ABD6BA1}" dt="2025-10-20T07:50:17.118" v="296" actId="20577"/>
        <pc:sldMkLst>
          <pc:docMk/>
          <pc:sldMk cId="1558678116" sldId="2147480017"/>
        </pc:sldMkLst>
        <pc:spChg chg="mod">
          <ac:chgData name="Sokołowska, Joanna" userId="eb4aaa38-3ba6-4077-9dbe-ebf2b69c3375" providerId="ADAL" clId="{0D652DD1-5F25-43FD-A0F1-24099ABD6BA1}" dt="2025-10-20T07:48:59.272" v="274" actId="20577"/>
          <ac:spMkLst>
            <pc:docMk/>
            <pc:sldMk cId="1558678116" sldId="2147480017"/>
            <ac:spMk id="28" creationId="{9B56D76C-A8DA-A4DA-2DCD-C4D0EA9CDB25}"/>
          </ac:spMkLst>
        </pc:spChg>
        <pc:spChg chg="mod">
          <ac:chgData name="Sokołowska, Joanna" userId="eb4aaa38-3ba6-4077-9dbe-ebf2b69c3375" providerId="ADAL" clId="{0D652DD1-5F25-43FD-A0F1-24099ABD6BA1}" dt="2025-10-20T07:49:09.446" v="276" actId="20577"/>
          <ac:spMkLst>
            <pc:docMk/>
            <pc:sldMk cId="1558678116" sldId="2147480017"/>
            <ac:spMk id="29" creationId="{A67EC110-82F6-5FCE-BDA2-9374F966789C}"/>
          </ac:spMkLst>
        </pc:spChg>
        <pc:spChg chg="del">
          <ac:chgData name="Sokołowska, Joanna" userId="eb4aaa38-3ba6-4077-9dbe-ebf2b69c3375" providerId="ADAL" clId="{0D652DD1-5F25-43FD-A0F1-24099ABD6BA1}" dt="2025-10-20T07:42:52.438" v="190" actId="478"/>
          <ac:spMkLst>
            <pc:docMk/>
            <pc:sldMk cId="1558678116" sldId="2147480017"/>
            <ac:spMk id="30" creationId="{BEF1B245-9D28-8B58-0BBE-73FC5E44925E}"/>
          </ac:spMkLst>
        </pc:spChg>
        <pc:spChg chg="mod">
          <ac:chgData name="Sokołowska, Joanna" userId="eb4aaa38-3ba6-4077-9dbe-ebf2b69c3375" providerId="ADAL" clId="{0D652DD1-5F25-43FD-A0F1-24099ABD6BA1}" dt="2025-10-20T07:50:17.118" v="296" actId="20577"/>
          <ac:spMkLst>
            <pc:docMk/>
            <pc:sldMk cId="1558678116" sldId="2147480017"/>
            <ac:spMk id="31" creationId="{EE2BBC0F-CA9B-77CF-C583-E45B84871710}"/>
          </ac:spMkLst>
        </pc:spChg>
        <pc:picChg chg="mod">
          <ac:chgData name="Sokołowska, Joanna" userId="eb4aaa38-3ba6-4077-9dbe-ebf2b69c3375" providerId="ADAL" clId="{0D652DD1-5F25-43FD-A0F1-24099ABD6BA1}" dt="2025-10-20T07:43:20.173" v="193" actId="1076"/>
          <ac:picMkLst>
            <pc:docMk/>
            <pc:sldMk cId="1558678116" sldId="2147480017"/>
            <ac:picMk id="32" creationId="{A85DF138-9A39-F791-1EB9-948306E2762B}"/>
          </ac:picMkLst>
        </pc:picChg>
        <pc:picChg chg="mod">
          <ac:chgData name="Sokołowska, Joanna" userId="eb4aaa38-3ba6-4077-9dbe-ebf2b69c3375" providerId="ADAL" clId="{0D652DD1-5F25-43FD-A0F1-24099ABD6BA1}" dt="2025-10-20T07:43:27.534" v="195" actId="1076"/>
          <ac:picMkLst>
            <pc:docMk/>
            <pc:sldMk cId="1558678116" sldId="2147480017"/>
            <ac:picMk id="33" creationId="{ACA2927D-BA0F-07E2-9868-502B4E0480CA}"/>
          </ac:picMkLst>
        </pc:picChg>
        <pc:picChg chg="del">
          <ac:chgData name="Sokołowska, Joanna" userId="eb4aaa38-3ba6-4077-9dbe-ebf2b69c3375" providerId="ADAL" clId="{0D652DD1-5F25-43FD-A0F1-24099ABD6BA1}" dt="2025-10-20T07:42:53.874" v="191" actId="478"/>
          <ac:picMkLst>
            <pc:docMk/>
            <pc:sldMk cId="1558678116" sldId="2147480017"/>
            <ac:picMk id="34" creationId="{33483059-EFE1-6FD7-82C4-E790142467AE}"/>
          </ac:picMkLst>
        </pc:picChg>
      </pc:sldChg>
      <pc:sldChg chg="del">
        <pc:chgData name="Sokołowska, Joanna" userId="eb4aaa38-3ba6-4077-9dbe-ebf2b69c3375" providerId="ADAL" clId="{0D652DD1-5F25-43FD-A0F1-24099ABD6BA1}" dt="2025-10-20T07:48:18.689" v="204" actId="47"/>
        <pc:sldMkLst>
          <pc:docMk/>
          <pc:sldMk cId="3316379585" sldId="2147480019"/>
        </pc:sldMkLst>
      </pc:sldChg>
      <pc:sldChg chg="addSp delSp modSp del mod ord">
        <pc:chgData name="Sokołowska, Joanna" userId="eb4aaa38-3ba6-4077-9dbe-ebf2b69c3375" providerId="ADAL" clId="{0D652DD1-5F25-43FD-A0F1-24099ABD6BA1}" dt="2025-10-21T08:13:19.352" v="323" actId="47"/>
        <pc:sldMkLst>
          <pc:docMk/>
          <pc:sldMk cId="947255248" sldId="2147480021"/>
        </pc:sldMkLst>
        <pc:spChg chg="mod">
          <ac:chgData name="Sokołowska, Joanna" userId="eb4aaa38-3ba6-4077-9dbe-ebf2b69c3375" providerId="ADAL" clId="{0D652DD1-5F25-43FD-A0F1-24099ABD6BA1}" dt="2025-10-20T07:41:40.156" v="181" actId="20577"/>
          <ac:spMkLst>
            <pc:docMk/>
            <pc:sldMk cId="947255248" sldId="2147480021"/>
            <ac:spMk id="5" creationId="{06658CE2-5123-3A81-6A4B-A5CD4FA120CE}"/>
          </ac:spMkLst>
        </pc:spChg>
        <pc:spChg chg="add del mod">
          <ac:chgData name="Sokołowska, Joanna" userId="eb4aaa38-3ba6-4077-9dbe-ebf2b69c3375" providerId="ADAL" clId="{0D652DD1-5F25-43FD-A0F1-24099ABD6BA1}" dt="2025-10-20T07:40:32.125" v="124" actId="478"/>
          <ac:spMkLst>
            <pc:docMk/>
            <pc:sldMk cId="947255248" sldId="2147480021"/>
            <ac:spMk id="6" creationId="{A49149CA-462B-FFEC-0EDB-E8026E60C698}"/>
          </ac:spMkLst>
        </pc:spChg>
        <pc:spChg chg="add del mod">
          <ac:chgData name="Sokołowska, Joanna" userId="eb4aaa38-3ba6-4077-9dbe-ebf2b69c3375" providerId="ADAL" clId="{0D652DD1-5F25-43FD-A0F1-24099ABD6BA1}" dt="2025-10-20T07:42:08.001" v="186" actId="478"/>
          <ac:spMkLst>
            <pc:docMk/>
            <pc:sldMk cId="947255248" sldId="2147480021"/>
            <ac:spMk id="8" creationId="{CF126733-E138-2E6C-373D-7921C329E845}"/>
          </ac:spMkLst>
        </pc:spChg>
        <pc:spChg chg="del">
          <ac:chgData name="Sokołowska, Joanna" userId="eb4aaa38-3ba6-4077-9dbe-ebf2b69c3375" providerId="ADAL" clId="{0D652DD1-5F25-43FD-A0F1-24099ABD6BA1}" dt="2025-10-20T07:40:30.773" v="123" actId="478"/>
          <ac:spMkLst>
            <pc:docMk/>
            <pc:sldMk cId="947255248" sldId="2147480021"/>
            <ac:spMk id="9" creationId="{26864BA4-68AB-386B-E3E5-027A8CCF4E54}"/>
          </ac:spMkLst>
        </pc:spChg>
        <pc:graphicFrameChg chg="add del mod">
          <ac:chgData name="Sokołowska, Joanna" userId="eb4aaa38-3ba6-4077-9dbe-ebf2b69c3375" providerId="ADAL" clId="{0D652DD1-5F25-43FD-A0F1-24099ABD6BA1}" dt="2025-10-20T07:42:25.934" v="189" actId="1076"/>
          <ac:graphicFrameMkLst>
            <pc:docMk/>
            <pc:sldMk cId="947255248" sldId="2147480021"/>
            <ac:graphicFrameMk id="13" creationId="{F770B401-B1CB-E932-985D-6395A07B1A19}"/>
          </ac:graphicFrameMkLst>
        </pc:graphicFrameChg>
        <pc:picChg chg="mod">
          <ac:chgData name="Sokołowska, Joanna" userId="eb4aaa38-3ba6-4077-9dbe-ebf2b69c3375" providerId="ADAL" clId="{0D652DD1-5F25-43FD-A0F1-24099ABD6BA1}" dt="2025-10-20T07:40:36.782" v="125" actId="1076"/>
          <ac:picMkLst>
            <pc:docMk/>
            <pc:sldMk cId="947255248" sldId="2147480021"/>
            <ac:picMk id="10" creationId="{DB8DB1CA-B621-C5D6-CC6C-39A102B8AFCA}"/>
          </ac:picMkLst>
        </pc:picChg>
      </pc:sldChg>
      <pc:sldChg chg="add del">
        <pc:chgData name="Sokołowska, Joanna" userId="eb4aaa38-3ba6-4077-9dbe-ebf2b69c3375" providerId="ADAL" clId="{0D652DD1-5F25-43FD-A0F1-24099ABD6BA1}" dt="2025-10-20T07:30:51.711" v="26" actId="47"/>
        <pc:sldMkLst>
          <pc:docMk/>
          <pc:sldMk cId="1416545792" sldId="2147480025"/>
        </pc:sldMkLst>
      </pc:sldChg>
      <pc:sldChg chg="addSp delSp modSp add mod">
        <pc:chgData name="Sokołowska, Joanna" userId="eb4aaa38-3ba6-4077-9dbe-ebf2b69c3375" providerId="ADAL" clId="{0D652DD1-5F25-43FD-A0F1-24099ABD6BA1}" dt="2025-10-20T07:35:13.814" v="89" actId="1076"/>
        <pc:sldMkLst>
          <pc:docMk/>
          <pc:sldMk cId="2965604298" sldId="2147480026"/>
        </pc:sldMkLst>
        <pc:spChg chg="mod">
          <ac:chgData name="Sokołowska, Joanna" userId="eb4aaa38-3ba6-4077-9dbe-ebf2b69c3375" providerId="ADAL" clId="{0D652DD1-5F25-43FD-A0F1-24099ABD6BA1}" dt="2025-10-20T07:35:13.814" v="89" actId="1076"/>
          <ac:spMkLst>
            <pc:docMk/>
            <pc:sldMk cId="2965604298" sldId="2147480026"/>
            <ac:spMk id="4" creationId="{21A7D88D-0A33-BC5D-A8C9-8B18F9308379}"/>
          </ac:spMkLst>
        </pc:spChg>
        <pc:spChg chg="del">
          <ac:chgData name="Sokołowska, Joanna" userId="eb4aaa38-3ba6-4077-9dbe-ebf2b69c3375" providerId="ADAL" clId="{0D652DD1-5F25-43FD-A0F1-24099ABD6BA1}" dt="2025-10-20T07:34:39.361" v="78" actId="478"/>
          <ac:spMkLst>
            <pc:docMk/>
            <pc:sldMk cId="2965604298" sldId="2147480026"/>
            <ac:spMk id="6" creationId="{CC1DDDD5-6127-58DB-CD70-47BAD6FE99D9}"/>
          </ac:spMkLst>
        </pc:spChg>
        <pc:spChg chg="del">
          <ac:chgData name="Sokołowska, Joanna" userId="eb4aaa38-3ba6-4077-9dbe-ebf2b69c3375" providerId="ADAL" clId="{0D652DD1-5F25-43FD-A0F1-24099ABD6BA1}" dt="2025-10-20T07:34:40.215" v="79" actId="478"/>
          <ac:spMkLst>
            <pc:docMk/>
            <pc:sldMk cId="2965604298" sldId="2147480026"/>
            <ac:spMk id="8" creationId="{73418AF5-04E2-1D45-5798-C985D24F857B}"/>
          </ac:spMkLst>
        </pc:spChg>
        <pc:spChg chg="add del mod">
          <ac:chgData name="Sokołowska, Joanna" userId="eb4aaa38-3ba6-4077-9dbe-ebf2b69c3375" providerId="ADAL" clId="{0D652DD1-5F25-43FD-A0F1-24099ABD6BA1}" dt="2025-10-20T07:34:44.957" v="81" actId="478"/>
          <ac:spMkLst>
            <pc:docMk/>
            <pc:sldMk cId="2965604298" sldId="2147480026"/>
            <ac:spMk id="9" creationId="{73354F58-D9FB-FCBA-8271-371002F90D23}"/>
          </ac:spMkLst>
        </pc:spChg>
        <pc:graphicFrameChg chg="del">
          <ac:chgData name="Sokołowska, Joanna" userId="eb4aaa38-3ba6-4077-9dbe-ebf2b69c3375" providerId="ADAL" clId="{0D652DD1-5F25-43FD-A0F1-24099ABD6BA1}" dt="2025-10-20T07:34:29.396" v="74" actId="478"/>
          <ac:graphicFrameMkLst>
            <pc:docMk/>
            <pc:sldMk cId="2965604298" sldId="2147480026"/>
            <ac:graphicFrameMk id="10" creationId="{EB70EE0A-CABE-1688-3E1A-C6DD1401440B}"/>
          </ac:graphicFrameMkLst>
        </pc:graphicFrameChg>
        <pc:picChg chg="del">
          <ac:chgData name="Sokołowska, Joanna" userId="eb4aaa38-3ba6-4077-9dbe-ebf2b69c3375" providerId="ADAL" clId="{0D652DD1-5F25-43FD-A0F1-24099ABD6BA1}" dt="2025-10-20T07:34:37.232" v="77" actId="478"/>
          <ac:picMkLst>
            <pc:docMk/>
            <pc:sldMk cId="2965604298" sldId="2147480026"/>
            <ac:picMk id="2" creationId="{4B6D51C8-D6DC-A945-DEA7-51A92A2E5AF6}"/>
          </ac:picMkLst>
        </pc:picChg>
      </pc:sldChg>
      <pc:sldChg chg="modSp add mod">
        <pc:chgData name="Sokołowska, Joanna" userId="eb4aaa38-3ba6-4077-9dbe-ebf2b69c3375" providerId="ADAL" clId="{0D652DD1-5F25-43FD-A0F1-24099ABD6BA1}" dt="2025-10-20T07:33:39.339" v="68" actId="14100"/>
        <pc:sldMkLst>
          <pc:docMk/>
          <pc:sldMk cId="2147537423" sldId="2147480027"/>
        </pc:sldMkLst>
        <pc:spChg chg="mod">
          <ac:chgData name="Sokołowska, Joanna" userId="eb4aaa38-3ba6-4077-9dbe-ebf2b69c3375" providerId="ADAL" clId="{0D652DD1-5F25-43FD-A0F1-24099ABD6BA1}" dt="2025-10-20T07:33:39.339" v="68" actId="14100"/>
          <ac:spMkLst>
            <pc:docMk/>
            <pc:sldMk cId="2147537423" sldId="2147480027"/>
            <ac:spMk id="9" creationId="{2BF95CBF-64AF-64B5-7793-969ED943680E}"/>
          </ac:spMkLst>
        </pc:spChg>
      </pc:sldChg>
      <pc:sldChg chg="modSp add mod">
        <pc:chgData name="Sokołowska, Joanna" userId="eb4aaa38-3ba6-4077-9dbe-ebf2b69c3375" providerId="ADAL" clId="{0D652DD1-5F25-43FD-A0F1-24099ABD6BA1}" dt="2025-10-20T07:45:28.052" v="202" actId="20577"/>
        <pc:sldMkLst>
          <pc:docMk/>
          <pc:sldMk cId="737107926" sldId="2147480028"/>
        </pc:sldMkLst>
        <pc:spChg chg="mod">
          <ac:chgData name="Sokołowska, Joanna" userId="eb4aaa38-3ba6-4077-9dbe-ebf2b69c3375" providerId="ADAL" clId="{0D652DD1-5F25-43FD-A0F1-24099ABD6BA1}" dt="2025-10-20T07:33:46.992" v="70" actId="14100"/>
          <ac:spMkLst>
            <pc:docMk/>
            <pc:sldMk cId="737107926" sldId="2147480028"/>
            <ac:spMk id="9" creationId="{4E398A38-D64D-0D0D-43CF-BE99667F3A5E}"/>
          </ac:spMkLst>
        </pc:spChg>
        <pc:graphicFrameChg chg="modGraphic">
          <ac:chgData name="Sokołowska, Joanna" userId="eb4aaa38-3ba6-4077-9dbe-ebf2b69c3375" providerId="ADAL" clId="{0D652DD1-5F25-43FD-A0F1-24099ABD6BA1}" dt="2025-10-20T07:45:28.052" v="202" actId="20577"/>
          <ac:graphicFrameMkLst>
            <pc:docMk/>
            <pc:sldMk cId="737107926" sldId="2147480028"/>
            <ac:graphicFrameMk id="10" creationId="{9B0E8676-B1CC-90C7-7BB8-276BEAD6A634}"/>
          </ac:graphicFrameMkLst>
        </pc:graphicFrameChg>
      </pc:sldChg>
      <pc:sldChg chg="delSp modSp add mod">
        <pc:chgData name="Sokołowska, Joanna" userId="eb4aaa38-3ba6-4077-9dbe-ebf2b69c3375" providerId="ADAL" clId="{0D652DD1-5F25-43FD-A0F1-24099ABD6BA1}" dt="2025-10-20T07:45:29.899" v="203" actId="20577"/>
        <pc:sldMkLst>
          <pc:docMk/>
          <pc:sldMk cId="1291134272" sldId="2147480029"/>
        </pc:sldMkLst>
        <pc:spChg chg="del">
          <ac:chgData name="Sokołowska, Joanna" userId="eb4aaa38-3ba6-4077-9dbe-ebf2b69c3375" providerId="ADAL" clId="{0D652DD1-5F25-43FD-A0F1-24099ABD6BA1}" dt="2025-10-20T07:33:55.948" v="72" actId="478"/>
          <ac:spMkLst>
            <pc:docMk/>
            <pc:sldMk cId="1291134272" sldId="2147480029"/>
            <ac:spMk id="9" creationId="{D84FF878-1632-DDE9-E58F-DFB029276F83}"/>
          </ac:spMkLst>
        </pc:spChg>
        <pc:graphicFrameChg chg="modGraphic">
          <ac:chgData name="Sokołowska, Joanna" userId="eb4aaa38-3ba6-4077-9dbe-ebf2b69c3375" providerId="ADAL" clId="{0D652DD1-5F25-43FD-A0F1-24099ABD6BA1}" dt="2025-10-20T07:45:29.899" v="203" actId="20577"/>
          <ac:graphicFrameMkLst>
            <pc:docMk/>
            <pc:sldMk cId="1291134272" sldId="2147480029"/>
            <ac:graphicFrameMk id="10" creationId="{414410CD-F152-64B0-DC71-E3C05EC382FC}"/>
          </ac:graphicFrameMkLst>
        </pc:graphicFrameChg>
      </pc:sldChg>
      <pc:sldChg chg="add">
        <pc:chgData name="Sokołowska, Joanna" userId="eb4aaa38-3ba6-4077-9dbe-ebf2b69c3375" providerId="ADAL" clId="{0D652DD1-5F25-43FD-A0F1-24099ABD6BA1}" dt="2025-10-20T07:34:24.260" v="73" actId="2890"/>
        <pc:sldMkLst>
          <pc:docMk/>
          <pc:sldMk cId="1156663455" sldId="2147480030"/>
        </pc:sldMkLst>
      </pc:sldChg>
      <pc:sldChg chg="addSp delSp modSp add mod">
        <pc:chgData name="Sokołowska, Joanna" userId="eb4aaa38-3ba6-4077-9dbe-ebf2b69c3375" providerId="ADAL" clId="{0D652DD1-5F25-43FD-A0F1-24099ABD6BA1}" dt="2025-10-20T07:39:32.543" v="122" actId="1076"/>
        <pc:sldMkLst>
          <pc:docMk/>
          <pc:sldMk cId="2359073788" sldId="2147480031"/>
        </pc:sldMkLst>
        <pc:spChg chg="add mod">
          <ac:chgData name="Sokołowska, Joanna" userId="eb4aaa38-3ba6-4077-9dbe-ebf2b69c3375" providerId="ADAL" clId="{0D652DD1-5F25-43FD-A0F1-24099ABD6BA1}" dt="2025-10-20T07:39:32.543" v="122" actId="1076"/>
          <ac:spMkLst>
            <pc:docMk/>
            <pc:sldMk cId="2359073788" sldId="2147480031"/>
            <ac:spMk id="10" creationId="{8F5A942B-4F8F-5C9E-E7D1-1985F6EDE6D1}"/>
          </ac:spMkLst>
        </pc:spChg>
        <pc:spChg chg="add mod">
          <ac:chgData name="Sokołowska, Joanna" userId="eb4aaa38-3ba6-4077-9dbe-ebf2b69c3375" providerId="ADAL" clId="{0D652DD1-5F25-43FD-A0F1-24099ABD6BA1}" dt="2025-10-20T07:39:27.239" v="121" actId="1076"/>
          <ac:spMkLst>
            <pc:docMk/>
            <pc:sldMk cId="2359073788" sldId="2147480031"/>
            <ac:spMk id="12" creationId="{3E700A83-44DB-55B7-8D14-65120227C94F}"/>
          </ac:spMkLst>
        </pc:spChg>
        <pc:spChg chg="del">
          <ac:chgData name="Sokołowska, Joanna" userId="eb4aaa38-3ba6-4077-9dbe-ebf2b69c3375" providerId="ADAL" clId="{0D652DD1-5F25-43FD-A0F1-24099ABD6BA1}" dt="2025-10-20T07:36:02.713" v="91" actId="478"/>
          <ac:spMkLst>
            <pc:docMk/>
            <pc:sldMk cId="2359073788" sldId="2147480031"/>
            <ac:spMk id="13" creationId="{FF6225A8-B2BF-589A-6227-3870395EE8F3}"/>
          </ac:spMkLst>
        </pc:spChg>
        <pc:picChg chg="del mod">
          <ac:chgData name="Sokołowska, Joanna" userId="eb4aaa38-3ba6-4077-9dbe-ebf2b69c3375" providerId="ADAL" clId="{0D652DD1-5F25-43FD-A0F1-24099ABD6BA1}" dt="2025-10-20T07:36:44.549" v="93" actId="478"/>
          <ac:picMkLst>
            <pc:docMk/>
            <pc:sldMk cId="2359073788" sldId="2147480031"/>
            <ac:picMk id="4" creationId="{B22BF464-B439-D2D8-33E0-492E2FE79D07}"/>
          </ac:picMkLst>
        </pc:picChg>
        <pc:picChg chg="add del mod">
          <ac:chgData name="Sokołowska, Joanna" userId="eb4aaa38-3ba6-4077-9dbe-ebf2b69c3375" providerId="ADAL" clId="{0D652DD1-5F25-43FD-A0F1-24099ABD6BA1}" dt="2025-10-20T07:37:51.999" v="101" actId="478"/>
          <ac:picMkLst>
            <pc:docMk/>
            <pc:sldMk cId="2359073788" sldId="2147480031"/>
            <ac:picMk id="7" creationId="{3A3093A4-1EDA-F9B9-B0CF-DA26A5D0AA2C}"/>
          </ac:picMkLst>
        </pc:picChg>
        <pc:picChg chg="add mod">
          <ac:chgData name="Sokołowska, Joanna" userId="eb4aaa38-3ba6-4077-9dbe-ebf2b69c3375" providerId="ADAL" clId="{0D652DD1-5F25-43FD-A0F1-24099ABD6BA1}" dt="2025-10-20T07:39:15.070" v="118" actId="1076"/>
          <ac:picMkLst>
            <pc:docMk/>
            <pc:sldMk cId="2359073788" sldId="2147480031"/>
            <ac:picMk id="9" creationId="{ED27B6A2-2CE2-4BB0-91CA-1B192073B6D2}"/>
          </ac:picMkLst>
        </pc:picChg>
      </pc:sldChg>
      <pc:sldChg chg="addSp delSp modSp add mod">
        <pc:chgData name="Sokołowska, Joanna" userId="eb4aaa38-3ba6-4077-9dbe-ebf2b69c3375" providerId="ADAL" clId="{0D652DD1-5F25-43FD-A0F1-24099ABD6BA1}" dt="2025-10-21T08:13:11.696" v="322" actId="14826"/>
        <pc:sldMkLst>
          <pc:docMk/>
          <pc:sldMk cId="3270734112" sldId="2147480032"/>
        </pc:sldMkLst>
        <pc:spChg chg="add del mod">
          <ac:chgData name="Sokołowska, Joanna" userId="eb4aaa38-3ba6-4077-9dbe-ebf2b69c3375" providerId="ADAL" clId="{0D652DD1-5F25-43FD-A0F1-24099ABD6BA1}" dt="2025-10-21T08:09:02.842" v="299" actId="478"/>
          <ac:spMkLst>
            <pc:docMk/>
            <pc:sldMk cId="3270734112" sldId="2147480032"/>
            <ac:spMk id="6" creationId="{D2CE1F2C-D31F-A08A-2A13-1C38CB30231C}"/>
          </ac:spMkLst>
        </pc:spChg>
        <pc:graphicFrameChg chg="del">
          <ac:chgData name="Sokołowska, Joanna" userId="eb4aaa38-3ba6-4077-9dbe-ebf2b69c3375" providerId="ADAL" clId="{0D652DD1-5F25-43FD-A0F1-24099ABD6BA1}" dt="2025-10-21T08:08:59.189" v="298" actId="478"/>
          <ac:graphicFrameMkLst>
            <pc:docMk/>
            <pc:sldMk cId="3270734112" sldId="2147480032"/>
            <ac:graphicFrameMk id="13" creationId="{DF965DB1-012C-D776-A804-62546A35DDC8}"/>
          </ac:graphicFrameMkLst>
        </pc:graphicFrameChg>
        <pc:picChg chg="add mod">
          <ac:chgData name="Sokołowska, Joanna" userId="eb4aaa38-3ba6-4077-9dbe-ebf2b69c3375" providerId="ADAL" clId="{0D652DD1-5F25-43FD-A0F1-24099ABD6BA1}" dt="2025-10-21T08:13:11.696" v="322" actId="14826"/>
          <ac:picMkLst>
            <pc:docMk/>
            <pc:sldMk cId="3270734112" sldId="2147480032"/>
            <ac:picMk id="8" creationId="{83B4D9D3-AF77-13B7-C1CD-E0BA3ED93DA5}"/>
          </ac:picMkLst>
        </pc:picChg>
        <pc:picChg chg="del">
          <ac:chgData name="Sokołowska, Joanna" userId="eb4aaa38-3ba6-4077-9dbe-ebf2b69c3375" providerId="ADAL" clId="{0D652DD1-5F25-43FD-A0F1-24099ABD6BA1}" dt="2025-10-21T08:09:05.474" v="300" actId="478"/>
          <ac:picMkLst>
            <pc:docMk/>
            <pc:sldMk cId="3270734112" sldId="2147480032"/>
            <ac:picMk id="10" creationId="{8E3BF370-17AA-5AF3-9011-9BBB6E2EF193}"/>
          </ac:picMkLst>
        </pc:picChg>
        <pc:picChg chg="add del mod">
          <ac:chgData name="Sokołowska, Joanna" userId="eb4aaa38-3ba6-4077-9dbe-ebf2b69c3375" providerId="ADAL" clId="{0D652DD1-5F25-43FD-A0F1-24099ABD6BA1}" dt="2025-10-21T08:11:15.505" v="313" actId="478"/>
          <ac:picMkLst>
            <pc:docMk/>
            <pc:sldMk cId="3270734112" sldId="2147480032"/>
            <ac:picMk id="11" creationId="{FC74FC33-541E-47BA-FD6B-5406C0B6E040}"/>
          </ac:picMkLst>
        </pc:picChg>
        <pc:picChg chg="add mod">
          <ac:chgData name="Sokołowska, Joanna" userId="eb4aaa38-3ba6-4077-9dbe-ebf2b69c3375" providerId="ADAL" clId="{0D652DD1-5F25-43FD-A0F1-24099ABD6BA1}" dt="2025-10-21T08:11:35.957" v="321" actId="1076"/>
          <ac:picMkLst>
            <pc:docMk/>
            <pc:sldMk cId="3270734112" sldId="2147480032"/>
            <ac:picMk id="14" creationId="{CDC30130-52F0-F087-7797-D4FA101BF2A9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1BF7884-0FDB-4296-8A80-20446FCFA070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l-PL"/>
        </a:p>
      </dgm:t>
    </dgm:pt>
    <dgm:pt modelId="{F271E5E2-5FD0-40B8-88AD-9156809D3A89}">
      <dgm:prSet/>
      <dgm:spPr>
        <a:solidFill>
          <a:schemeClr val="bg2"/>
        </a:solidFill>
      </dgm:spPr>
      <dgm:t>
        <a:bodyPr/>
        <a:lstStyle/>
        <a:p>
          <a:r>
            <a:rPr lang="pl-PL" b="0" i="0" dirty="0">
              <a:solidFill>
                <a:schemeClr val="tx1"/>
              </a:solidFill>
            </a:rPr>
            <a:t>110 </a:t>
          </a:r>
          <a:r>
            <a:rPr lang="pl-PL" b="0" i="0" dirty="0" err="1">
              <a:solidFill>
                <a:schemeClr val="tx1"/>
              </a:solidFill>
            </a:rPr>
            <a:t>kV</a:t>
          </a:r>
          <a:r>
            <a:rPr lang="pl-PL" b="0" i="0" dirty="0">
              <a:solidFill>
                <a:schemeClr val="tx1"/>
              </a:solidFill>
            </a:rPr>
            <a:t> RPZ Poznańska – RPZ Mory</a:t>
          </a:r>
          <a:endParaRPr lang="pl-PL" dirty="0">
            <a:solidFill>
              <a:schemeClr val="tx1"/>
            </a:solidFill>
          </a:endParaRPr>
        </a:p>
      </dgm:t>
    </dgm:pt>
    <dgm:pt modelId="{A66BBFCC-1B05-44AE-909A-CE8ED5C55537}" type="parTrans" cxnId="{CE2F859F-D9C3-4886-BEE4-68D4E772A032}">
      <dgm:prSet/>
      <dgm:spPr/>
      <dgm:t>
        <a:bodyPr/>
        <a:lstStyle/>
        <a:p>
          <a:endParaRPr lang="pl-PL"/>
        </a:p>
      </dgm:t>
    </dgm:pt>
    <dgm:pt modelId="{589751A3-4DF9-4D93-BBB6-2CD86B06F4D4}" type="sibTrans" cxnId="{CE2F859F-D9C3-4886-BEE4-68D4E772A032}">
      <dgm:prSet/>
      <dgm:spPr/>
      <dgm:t>
        <a:bodyPr/>
        <a:lstStyle/>
        <a:p>
          <a:endParaRPr lang="pl-PL"/>
        </a:p>
      </dgm:t>
    </dgm:pt>
    <dgm:pt modelId="{EE2F6DC3-8F61-4C60-80AA-E7F845F9110F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l-PL" dirty="0">
              <a:solidFill>
                <a:schemeClr val="tx1"/>
              </a:solidFill>
            </a:rPr>
            <a:t>Bemowo</a:t>
          </a:r>
        </a:p>
      </dgm:t>
    </dgm:pt>
    <dgm:pt modelId="{6A71ACC8-7E5B-45E8-967E-361B7EEA4F5A}" type="parTrans" cxnId="{A23C41FF-771F-4D9E-A08F-26370E1C7885}">
      <dgm:prSet/>
      <dgm:spPr/>
      <dgm:t>
        <a:bodyPr/>
        <a:lstStyle/>
        <a:p>
          <a:endParaRPr lang="pl-PL"/>
        </a:p>
      </dgm:t>
    </dgm:pt>
    <dgm:pt modelId="{D1170E5E-5F5E-45AC-97D3-D00FCD85A01D}" type="sibTrans" cxnId="{A23C41FF-771F-4D9E-A08F-26370E1C7885}">
      <dgm:prSet/>
      <dgm:spPr/>
      <dgm:t>
        <a:bodyPr/>
        <a:lstStyle/>
        <a:p>
          <a:endParaRPr lang="pl-PL"/>
        </a:p>
      </dgm:t>
    </dgm:pt>
    <dgm:pt modelId="{AA9FAF23-76B4-4055-99F3-DDE8818B6E24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l-PL" dirty="0">
              <a:solidFill>
                <a:schemeClr val="tx1"/>
              </a:solidFill>
            </a:rPr>
            <a:t>Ożarów Mazowiecki</a:t>
          </a:r>
        </a:p>
      </dgm:t>
    </dgm:pt>
    <dgm:pt modelId="{81F8947C-9B7D-4FA6-8CBB-F9960B2A9714}" type="parTrans" cxnId="{048157EB-B37C-4FF9-98AE-83F988A4E079}">
      <dgm:prSet/>
      <dgm:spPr/>
      <dgm:t>
        <a:bodyPr/>
        <a:lstStyle/>
        <a:p>
          <a:endParaRPr lang="pl-PL"/>
        </a:p>
      </dgm:t>
    </dgm:pt>
    <dgm:pt modelId="{141847DF-0FE2-49FC-AEE1-95523FF79623}" type="sibTrans" cxnId="{048157EB-B37C-4FF9-98AE-83F988A4E079}">
      <dgm:prSet/>
      <dgm:spPr/>
      <dgm:t>
        <a:bodyPr/>
        <a:lstStyle/>
        <a:p>
          <a:endParaRPr lang="pl-PL"/>
        </a:p>
      </dgm:t>
    </dgm:pt>
    <dgm:pt modelId="{41502C4C-1996-42E0-B78B-C8E5AC4CF0C9}">
      <dgm:prSet/>
      <dgm:spPr>
        <a:solidFill>
          <a:schemeClr val="bg2"/>
        </a:solidFill>
        <a:ln>
          <a:solidFill>
            <a:schemeClr val="bg2"/>
          </a:solidFill>
        </a:ln>
      </dgm:spPr>
      <dgm:t>
        <a:bodyPr/>
        <a:lstStyle/>
        <a:p>
          <a:r>
            <a:rPr lang="pl-PL" dirty="0">
              <a:solidFill>
                <a:schemeClr val="tx1"/>
              </a:solidFill>
            </a:rPr>
            <a:t>Siekierki – Międzylesie</a:t>
          </a:r>
        </a:p>
        <a:p>
          <a:r>
            <a:rPr lang="pl-PL" dirty="0">
              <a:solidFill>
                <a:schemeClr val="tx1"/>
              </a:solidFill>
            </a:rPr>
            <a:t>w przęsłach (55-56W i 60W-61), sekcja wiślana</a:t>
          </a:r>
        </a:p>
      </dgm:t>
    </dgm:pt>
    <dgm:pt modelId="{518D1021-2E88-4BFD-A83B-E70C271EE62D}" type="parTrans" cxnId="{4EE8D25C-DC25-4936-A14C-E40D94983C3B}">
      <dgm:prSet/>
      <dgm:spPr/>
      <dgm:t>
        <a:bodyPr/>
        <a:lstStyle/>
        <a:p>
          <a:endParaRPr lang="pl-PL"/>
        </a:p>
      </dgm:t>
    </dgm:pt>
    <dgm:pt modelId="{5E9C0C61-FC50-42B5-BB19-624A478963F3}" type="sibTrans" cxnId="{4EE8D25C-DC25-4936-A14C-E40D94983C3B}">
      <dgm:prSet/>
      <dgm:spPr/>
      <dgm:t>
        <a:bodyPr/>
        <a:lstStyle/>
        <a:p>
          <a:endParaRPr lang="pl-PL"/>
        </a:p>
      </dgm:t>
    </dgm:pt>
    <dgm:pt modelId="{D74FDCEA-C3A4-457B-919C-D9DEE1ACEF87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l-PL" dirty="0">
              <a:solidFill>
                <a:schemeClr val="tx1"/>
              </a:solidFill>
            </a:rPr>
            <a:t>Mokotów</a:t>
          </a:r>
        </a:p>
      </dgm:t>
    </dgm:pt>
    <dgm:pt modelId="{8A49C9DF-36E8-4CDA-BF19-E1AA4FA6C41E}" type="parTrans" cxnId="{C57BFD99-4068-4B65-8F08-6841ED599B15}">
      <dgm:prSet/>
      <dgm:spPr/>
      <dgm:t>
        <a:bodyPr/>
        <a:lstStyle/>
        <a:p>
          <a:endParaRPr lang="pl-PL"/>
        </a:p>
      </dgm:t>
    </dgm:pt>
    <dgm:pt modelId="{E9D1E660-3217-47AE-84F9-1B0B0F016121}" type="sibTrans" cxnId="{C57BFD99-4068-4B65-8F08-6841ED599B15}">
      <dgm:prSet/>
      <dgm:spPr/>
      <dgm:t>
        <a:bodyPr/>
        <a:lstStyle/>
        <a:p>
          <a:endParaRPr lang="pl-PL"/>
        </a:p>
      </dgm:t>
    </dgm:pt>
    <dgm:pt modelId="{25FAA86A-AFB1-4EAA-8972-A87F7D2B9CBB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l-PL" dirty="0">
              <a:solidFill>
                <a:schemeClr val="tx1"/>
              </a:solidFill>
            </a:rPr>
            <a:t>Wawer</a:t>
          </a:r>
        </a:p>
      </dgm:t>
    </dgm:pt>
    <dgm:pt modelId="{2BBB3F57-4C11-4AFB-9243-9F926EC6D21E}" type="parTrans" cxnId="{141C16C5-CDC6-4194-B397-B6CD10784DB7}">
      <dgm:prSet/>
      <dgm:spPr/>
      <dgm:t>
        <a:bodyPr/>
        <a:lstStyle/>
        <a:p>
          <a:endParaRPr lang="pl-PL"/>
        </a:p>
      </dgm:t>
    </dgm:pt>
    <dgm:pt modelId="{872C5ECF-8A08-46FE-AF0E-D6B8C7E73233}" type="sibTrans" cxnId="{141C16C5-CDC6-4194-B397-B6CD10784DB7}">
      <dgm:prSet/>
      <dgm:spPr/>
      <dgm:t>
        <a:bodyPr/>
        <a:lstStyle/>
        <a:p>
          <a:endParaRPr lang="pl-PL"/>
        </a:p>
      </dgm:t>
    </dgm:pt>
    <dgm:pt modelId="{925ADE29-D3F0-4F33-8126-A5C0D633553D}" type="pres">
      <dgm:prSet presAssocID="{11BF7884-0FDB-4296-8A80-20446FCFA07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875D947-23FF-4B47-A543-DEB6F559DF04}" type="pres">
      <dgm:prSet presAssocID="{F271E5E2-5FD0-40B8-88AD-9156809D3A89}" presName="hierRoot1" presStyleCnt="0">
        <dgm:presLayoutVars>
          <dgm:hierBranch val="init"/>
        </dgm:presLayoutVars>
      </dgm:prSet>
      <dgm:spPr/>
    </dgm:pt>
    <dgm:pt modelId="{78AE3931-0AFC-4E69-A3C7-BFC1DE67F4C6}" type="pres">
      <dgm:prSet presAssocID="{F271E5E2-5FD0-40B8-88AD-9156809D3A89}" presName="rootComposite1" presStyleCnt="0"/>
      <dgm:spPr/>
    </dgm:pt>
    <dgm:pt modelId="{AE154B5E-6771-4BFB-86B9-B0253E8B994B}" type="pres">
      <dgm:prSet presAssocID="{F271E5E2-5FD0-40B8-88AD-9156809D3A89}" presName="rootText1" presStyleLbl="node0" presStyleIdx="0" presStyleCnt="2" custScaleX="206121">
        <dgm:presLayoutVars>
          <dgm:chPref val="3"/>
        </dgm:presLayoutVars>
      </dgm:prSet>
      <dgm:spPr/>
    </dgm:pt>
    <dgm:pt modelId="{16D34593-5E79-4A85-BCAB-5F008E6F0350}" type="pres">
      <dgm:prSet presAssocID="{F271E5E2-5FD0-40B8-88AD-9156809D3A89}" presName="rootConnector1" presStyleLbl="node1" presStyleIdx="0" presStyleCnt="0"/>
      <dgm:spPr/>
    </dgm:pt>
    <dgm:pt modelId="{BBA5DD52-CB85-4022-A158-E0B8CCBA937A}" type="pres">
      <dgm:prSet presAssocID="{F271E5E2-5FD0-40B8-88AD-9156809D3A89}" presName="hierChild2" presStyleCnt="0"/>
      <dgm:spPr/>
    </dgm:pt>
    <dgm:pt modelId="{1165710C-3629-40D8-A226-269FE666585F}" type="pres">
      <dgm:prSet presAssocID="{6A71ACC8-7E5B-45E8-967E-361B7EEA4F5A}" presName="Name37" presStyleLbl="parChTrans1D2" presStyleIdx="0" presStyleCnt="4"/>
      <dgm:spPr/>
    </dgm:pt>
    <dgm:pt modelId="{9786DDC4-91D8-4284-A748-1000CF485AC4}" type="pres">
      <dgm:prSet presAssocID="{EE2F6DC3-8F61-4C60-80AA-E7F845F9110F}" presName="hierRoot2" presStyleCnt="0">
        <dgm:presLayoutVars>
          <dgm:hierBranch val="init"/>
        </dgm:presLayoutVars>
      </dgm:prSet>
      <dgm:spPr/>
    </dgm:pt>
    <dgm:pt modelId="{C46B1678-9F9D-43C7-8AEF-41BA95F56AF2}" type="pres">
      <dgm:prSet presAssocID="{EE2F6DC3-8F61-4C60-80AA-E7F845F9110F}" presName="rootComposite" presStyleCnt="0"/>
      <dgm:spPr/>
    </dgm:pt>
    <dgm:pt modelId="{BE2B29F9-8339-41B4-BE4A-AB92188F3473}" type="pres">
      <dgm:prSet presAssocID="{EE2F6DC3-8F61-4C60-80AA-E7F845F9110F}" presName="rootText" presStyleLbl="node2" presStyleIdx="0" presStyleCnt="4">
        <dgm:presLayoutVars>
          <dgm:chPref val="3"/>
        </dgm:presLayoutVars>
      </dgm:prSet>
      <dgm:spPr/>
    </dgm:pt>
    <dgm:pt modelId="{29A78F9F-EA14-472D-9155-25B1A5289DAE}" type="pres">
      <dgm:prSet presAssocID="{EE2F6DC3-8F61-4C60-80AA-E7F845F9110F}" presName="rootConnector" presStyleLbl="node2" presStyleIdx="0" presStyleCnt="4"/>
      <dgm:spPr/>
    </dgm:pt>
    <dgm:pt modelId="{04E90F7C-5E11-432D-B835-C898CD7BAC21}" type="pres">
      <dgm:prSet presAssocID="{EE2F6DC3-8F61-4C60-80AA-E7F845F9110F}" presName="hierChild4" presStyleCnt="0"/>
      <dgm:spPr/>
    </dgm:pt>
    <dgm:pt modelId="{91BE7ABF-BF9F-4ED1-9810-425EBE604A43}" type="pres">
      <dgm:prSet presAssocID="{EE2F6DC3-8F61-4C60-80AA-E7F845F9110F}" presName="hierChild5" presStyleCnt="0"/>
      <dgm:spPr/>
    </dgm:pt>
    <dgm:pt modelId="{0F7B322E-3B8C-4A60-BF34-62B29715ADE6}" type="pres">
      <dgm:prSet presAssocID="{81F8947C-9B7D-4FA6-8CBB-F9960B2A9714}" presName="Name37" presStyleLbl="parChTrans1D2" presStyleIdx="1" presStyleCnt="4"/>
      <dgm:spPr/>
    </dgm:pt>
    <dgm:pt modelId="{1D13781A-D3E9-4302-96B4-8482E01613BC}" type="pres">
      <dgm:prSet presAssocID="{AA9FAF23-76B4-4055-99F3-DDE8818B6E24}" presName="hierRoot2" presStyleCnt="0">
        <dgm:presLayoutVars>
          <dgm:hierBranch val="init"/>
        </dgm:presLayoutVars>
      </dgm:prSet>
      <dgm:spPr/>
    </dgm:pt>
    <dgm:pt modelId="{F7893469-C581-4091-8FD0-AD239015E516}" type="pres">
      <dgm:prSet presAssocID="{AA9FAF23-76B4-4055-99F3-DDE8818B6E24}" presName="rootComposite" presStyleCnt="0"/>
      <dgm:spPr/>
    </dgm:pt>
    <dgm:pt modelId="{CF392E83-E478-4E48-8251-AF5BB577450D}" type="pres">
      <dgm:prSet presAssocID="{AA9FAF23-76B4-4055-99F3-DDE8818B6E24}" presName="rootText" presStyleLbl="node2" presStyleIdx="1" presStyleCnt="4">
        <dgm:presLayoutVars>
          <dgm:chPref val="3"/>
        </dgm:presLayoutVars>
      </dgm:prSet>
      <dgm:spPr/>
    </dgm:pt>
    <dgm:pt modelId="{7E89E1B9-9DCC-4E2F-AA07-7510B7F699F5}" type="pres">
      <dgm:prSet presAssocID="{AA9FAF23-76B4-4055-99F3-DDE8818B6E24}" presName="rootConnector" presStyleLbl="node2" presStyleIdx="1" presStyleCnt="4"/>
      <dgm:spPr/>
    </dgm:pt>
    <dgm:pt modelId="{B43173D0-8FDE-4564-B235-D2D8188D26C6}" type="pres">
      <dgm:prSet presAssocID="{AA9FAF23-76B4-4055-99F3-DDE8818B6E24}" presName="hierChild4" presStyleCnt="0"/>
      <dgm:spPr/>
    </dgm:pt>
    <dgm:pt modelId="{36A59205-BA13-4D15-9409-2DE6E95F4B88}" type="pres">
      <dgm:prSet presAssocID="{AA9FAF23-76B4-4055-99F3-DDE8818B6E24}" presName="hierChild5" presStyleCnt="0"/>
      <dgm:spPr/>
    </dgm:pt>
    <dgm:pt modelId="{F72AB650-019F-4D66-8E62-D534E9779108}" type="pres">
      <dgm:prSet presAssocID="{F271E5E2-5FD0-40B8-88AD-9156809D3A89}" presName="hierChild3" presStyleCnt="0"/>
      <dgm:spPr/>
    </dgm:pt>
    <dgm:pt modelId="{638C6942-3099-48D2-BE9D-7454877F6625}" type="pres">
      <dgm:prSet presAssocID="{41502C4C-1996-42E0-B78B-C8E5AC4CF0C9}" presName="hierRoot1" presStyleCnt="0">
        <dgm:presLayoutVars>
          <dgm:hierBranch val="init"/>
        </dgm:presLayoutVars>
      </dgm:prSet>
      <dgm:spPr/>
    </dgm:pt>
    <dgm:pt modelId="{3B967C47-1A04-49F8-B206-5D13CD36A134}" type="pres">
      <dgm:prSet presAssocID="{41502C4C-1996-42E0-B78B-C8E5AC4CF0C9}" presName="rootComposite1" presStyleCnt="0"/>
      <dgm:spPr/>
    </dgm:pt>
    <dgm:pt modelId="{C530A7D3-D720-4945-B330-AA99535C4727}" type="pres">
      <dgm:prSet presAssocID="{41502C4C-1996-42E0-B78B-C8E5AC4CF0C9}" presName="rootText1" presStyleLbl="node0" presStyleIdx="1" presStyleCnt="2" custScaleX="199912">
        <dgm:presLayoutVars>
          <dgm:chPref val="3"/>
        </dgm:presLayoutVars>
      </dgm:prSet>
      <dgm:spPr/>
    </dgm:pt>
    <dgm:pt modelId="{A9301E30-AE86-4E0F-A2C4-BA91C3B3027F}" type="pres">
      <dgm:prSet presAssocID="{41502C4C-1996-42E0-B78B-C8E5AC4CF0C9}" presName="rootConnector1" presStyleLbl="node1" presStyleIdx="0" presStyleCnt="0"/>
      <dgm:spPr/>
    </dgm:pt>
    <dgm:pt modelId="{9D7E09B7-9218-43E4-99B8-1E2482B480A3}" type="pres">
      <dgm:prSet presAssocID="{41502C4C-1996-42E0-B78B-C8E5AC4CF0C9}" presName="hierChild2" presStyleCnt="0"/>
      <dgm:spPr/>
    </dgm:pt>
    <dgm:pt modelId="{785B0F33-133E-4BC4-B84C-30396DB4DCC9}" type="pres">
      <dgm:prSet presAssocID="{8A49C9DF-36E8-4CDA-BF19-E1AA4FA6C41E}" presName="Name37" presStyleLbl="parChTrans1D2" presStyleIdx="2" presStyleCnt="4"/>
      <dgm:spPr/>
    </dgm:pt>
    <dgm:pt modelId="{F232C98D-5580-47A3-A353-855789625CBF}" type="pres">
      <dgm:prSet presAssocID="{D74FDCEA-C3A4-457B-919C-D9DEE1ACEF87}" presName="hierRoot2" presStyleCnt="0">
        <dgm:presLayoutVars>
          <dgm:hierBranch val="init"/>
        </dgm:presLayoutVars>
      </dgm:prSet>
      <dgm:spPr/>
    </dgm:pt>
    <dgm:pt modelId="{25DA4108-5E20-4D8C-B22F-ED6E92972958}" type="pres">
      <dgm:prSet presAssocID="{D74FDCEA-C3A4-457B-919C-D9DEE1ACEF87}" presName="rootComposite" presStyleCnt="0"/>
      <dgm:spPr/>
    </dgm:pt>
    <dgm:pt modelId="{8F4BD83D-29FF-4D38-B659-03C64AAE6C7D}" type="pres">
      <dgm:prSet presAssocID="{D74FDCEA-C3A4-457B-919C-D9DEE1ACEF87}" presName="rootText" presStyleLbl="node2" presStyleIdx="2" presStyleCnt="4">
        <dgm:presLayoutVars>
          <dgm:chPref val="3"/>
        </dgm:presLayoutVars>
      </dgm:prSet>
      <dgm:spPr/>
    </dgm:pt>
    <dgm:pt modelId="{D47DB6A3-FA5F-43CB-9C1E-50B6509A8777}" type="pres">
      <dgm:prSet presAssocID="{D74FDCEA-C3A4-457B-919C-D9DEE1ACEF87}" presName="rootConnector" presStyleLbl="node2" presStyleIdx="2" presStyleCnt="4"/>
      <dgm:spPr/>
    </dgm:pt>
    <dgm:pt modelId="{0673AA8D-9196-40A2-8AB2-77EC5CE1DD07}" type="pres">
      <dgm:prSet presAssocID="{D74FDCEA-C3A4-457B-919C-D9DEE1ACEF87}" presName="hierChild4" presStyleCnt="0"/>
      <dgm:spPr/>
    </dgm:pt>
    <dgm:pt modelId="{B4C33858-A100-4D38-A88C-1BF77EE57EDE}" type="pres">
      <dgm:prSet presAssocID="{D74FDCEA-C3A4-457B-919C-D9DEE1ACEF87}" presName="hierChild5" presStyleCnt="0"/>
      <dgm:spPr/>
    </dgm:pt>
    <dgm:pt modelId="{AC889C82-E399-4012-A813-2AAC2EDF9CAF}" type="pres">
      <dgm:prSet presAssocID="{2BBB3F57-4C11-4AFB-9243-9F926EC6D21E}" presName="Name37" presStyleLbl="parChTrans1D2" presStyleIdx="3" presStyleCnt="4"/>
      <dgm:spPr/>
    </dgm:pt>
    <dgm:pt modelId="{F8ECDA96-B196-44A4-9F3A-FD38424BF3C8}" type="pres">
      <dgm:prSet presAssocID="{25FAA86A-AFB1-4EAA-8972-A87F7D2B9CBB}" presName="hierRoot2" presStyleCnt="0">
        <dgm:presLayoutVars>
          <dgm:hierBranch val="init"/>
        </dgm:presLayoutVars>
      </dgm:prSet>
      <dgm:spPr/>
    </dgm:pt>
    <dgm:pt modelId="{D38002B6-2C1C-42DF-ABF0-E23B0AA582F9}" type="pres">
      <dgm:prSet presAssocID="{25FAA86A-AFB1-4EAA-8972-A87F7D2B9CBB}" presName="rootComposite" presStyleCnt="0"/>
      <dgm:spPr/>
    </dgm:pt>
    <dgm:pt modelId="{31C89638-D7EC-4D42-A5E7-A34A1E4AA550}" type="pres">
      <dgm:prSet presAssocID="{25FAA86A-AFB1-4EAA-8972-A87F7D2B9CBB}" presName="rootText" presStyleLbl="node2" presStyleIdx="3" presStyleCnt="4">
        <dgm:presLayoutVars>
          <dgm:chPref val="3"/>
        </dgm:presLayoutVars>
      </dgm:prSet>
      <dgm:spPr/>
    </dgm:pt>
    <dgm:pt modelId="{3CACCBB6-DE62-4FF1-8342-B4D11D4F97FB}" type="pres">
      <dgm:prSet presAssocID="{25FAA86A-AFB1-4EAA-8972-A87F7D2B9CBB}" presName="rootConnector" presStyleLbl="node2" presStyleIdx="3" presStyleCnt="4"/>
      <dgm:spPr/>
    </dgm:pt>
    <dgm:pt modelId="{81D94066-3B2A-42AE-8CFE-882DC0BABB9E}" type="pres">
      <dgm:prSet presAssocID="{25FAA86A-AFB1-4EAA-8972-A87F7D2B9CBB}" presName="hierChild4" presStyleCnt="0"/>
      <dgm:spPr/>
    </dgm:pt>
    <dgm:pt modelId="{4DF81B9F-FAF5-42C5-92A0-38306BF1E280}" type="pres">
      <dgm:prSet presAssocID="{25FAA86A-AFB1-4EAA-8972-A87F7D2B9CBB}" presName="hierChild5" presStyleCnt="0"/>
      <dgm:spPr/>
    </dgm:pt>
    <dgm:pt modelId="{F4C04B21-E26A-4715-B79D-00C80B63D802}" type="pres">
      <dgm:prSet presAssocID="{41502C4C-1996-42E0-B78B-C8E5AC4CF0C9}" presName="hierChild3" presStyleCnt="0"/>
      <dgm:spPr/>
    </dgm:pt>
  </dgm:ptLst>
  <dgm:cxnLst>
    <dgm:cxn modelId="{0F031800-9147-4E12-B6D2-62B07A602F34}" type="presOf" srcId="{D74FDCEA-C3A4-457B-919C-D9DEE1ACEF87}" destId="{8F4BD83D-29FF-4D38-B659-03C64AAE6C7D}" srcOrd="0" destOrd="0" presId="urn:microsoft.com/office/officeart/2005/8/layout/orgChart1"/>
    <dgm:cxn modelId="{788B3404-F829-4331-B543-ECEB3F6820F8}" type="presOf" srcId="{D74FDCEA-C3A4-457B-919C-D9DEE1ACEF87}" destId="{D47DB6A3-FA5F-43CB-9C1E-50B6509A8777}" srcOrd="1" destOrd="0" presId="urn:microsoft.com/office/officeart/2005/8/layout/orgChart1"/>
    <dgm:cxn modelId="{BE9B2F0A-D078-4D92-A1B6-294FC312B4E9}" type="presOf" srcId="{AA9FAF23-76B4-4055-99F3-DDE8818B6E24}" destId="{7E89E1B9-9DCC-4E2F-AA07-7510B7F699F5}" srcOrd="1" destOrd="0" presId="urn:microsoft.com/office/officeart/2005/8/layout/orgChart1"/>
    <dgm:cxn modelId="{91A4D425-53EE-48D9-A70D-E5E5D3AB35EC}" type="presOf" srcId="{41502C4C-1996-42E0-B78B-C8E5AC4CF0C9}" destId="{C530A7D3-D720-4945-B330-AA99535C4727}" srcOrd="0" destOrd="0" presId="urn:microsoft.com/office/officeart/2005/8/layout/orgChart1"/>
    <dgm:cxn modelId="{4EE8D25C-DC25-4936-A14C-E40D94983C3B}" srcId="{11BF7884-0FDB-4296-8A80-20446FCFA070}" destId="{41502C4C-1996-42E0-B78B-C8E5AC4CF0C9}" srcOrd="1" destOrd="0" parTransId="{518D1021-2E88-4BFD-A83B-E70C271EE62D}" sibTransId="{5E9C0C61-FC50-42B5-BB19-624A478963F3}"/>
    <dgm:cxn modelId="{0B097C5E-02DA-448E-8998-692E17BBDB82}" type="presOf" srcId="{8A49C9DF-36E8-4CDA-BF19-E1AA4FA6C41E}" destId="{785B0F33-133E-4BC4-B84C-30396DB4DCC9}" srcOrd="0" destOrd="0" presId="urn:microsoft.com/office/officeart/2005/8/layout/orgChart1"/>
    <dgm:cxn modelId="{148F3867-D51B-45F9-A8E5-5EE184F8098A}" type="presOf" srcId="{81F8947C-9B7D-4FA6-8CBB-F9960B2A9714}" destId="{0F7B322E-3B8C-4A60-BF34-62B29715ADE6}" srcOrd="0" destOrd="0" presId="urn:microsoft.com/office/officeart/2005/8/layout/orgChart1"/>
    <dgm:cxn modelId="{E2E6706A-4B0C-4D3E-BCBF-E58B5E5F8B4D}" type="presOf" srcId="{11BF7884-0FDB-4296-8A80-20446FCFA070}" destId="{925ADE29-D3F0-4F33-8126-A5C0D633553D}" srcOrd="0" destOrd="0" presId="urn:microsoft.com/office/officeart/2005/8/layout/orgChart1"/>
    <dgm:cxn modelId="{9C65A659-4C5C-4A19-945D-8EC4AE4FF8BD}" type="presOf" srcId="{AA9FAF23-76B4-4055-99F3-DDE8818B6E24}" destId="{CF392E83-E478-4E48-8251-AF5BB577450D}" srcOrd="0" destOrd="0" presId="urn:microsoft.com/office/officeart/2005/8/layout/orgChart1"/>
    <dgm:cxn modelId="{31B5137C-6156-431E-AE6E-E8510EFA4B15}" type="presOf" srcId="{25FAA86A-AFB1-4EAA-8972-A87F7D2B9CBB}" destId="{31C89638-D7EC-4D42-A5E7-A34A1E4AA550}" srcOrd="0" destOrd="0" presId="urn:microsoft.com/office/officeart/2005/8/layout/orgChart1"/>
    <dgm:cxn modelId="{23931C87-2439-4619-97DE-B3C1498AE0C2}" type="presOf" srcId="{EE2F6DC3-8F61-4C60-80AA-E7F845F9110F}" destId="{BE2B29F9-8339-41B4-BE4A-AB92188F3473}" srcOrd="0" destOrd="0" presId="urn:microsoft.com/office/officeart/2005/8/layout/orgChart1"/>
    <dgm:cxn modelId="{86423C91-334A-44A4-A039-11C4E6A62CBB}" type="presOf" srcId="{F271E5E2-5FD0-40B8-88AD-9156809D3A89}" destId="{AE154B5E-6771-4BFB-86B9-B0253E8B994B}" srcOrd="0" destOrd="0" presId="urn:microsoft.com/office/officeart/2005/8/layout/orgChart1"/>
    <dgm:cxn modelId="{C57BFD99-4068-4B65-8F08-6841ED599B15}" srcId="{41502C4C-1996-42E0-B78B-C8E5AC4CF0C9}" destId="{D74FDCEA-C3A4-457B-919C-D9DEE1ACEF87}" srcOrd="0" destOrd="0" parTransId="{8A49C9DF-36E8-4CDA-BF19-E1AA4FA6C41E}" sibTransId="{E9D1E660-3217-47AE-84F9-1B0B0F016121}"/>
    <dgm:cxn modelId="{CE2F859F-D9C3-4886-BEE4-68D4E772A032}" srcId="{11BF7884-0FDB-4296-8A80-20446FCFA070}" destId="{F271E5E2-5FD0-40B8-88AD-9156809D3A89}" srcOrd="0" destOrd="0" parTransId="{A66BBFCC-1B05-44AE-909A-CE8ED5C55537}" sibTransId="{589751A3-4DF9-4D93-BBB6-2CD86B06F4D4}"/>
    <dgm:cxn modelId="{1DDC2DB4-49F9-4BB1-A946-779C908DEAA5}" type="presOf" srcId="{2BBB3F57-4C11-4AFB-9243-9F926EC6D21E}" destId="{AC889C82-E399-4012-A813-2AAC2EDF9CAF}" srcOrd="0" destOrd="0" presId="urn:microsoft.com/office/officeart/2005/8/layout/orgChart1"/>
    <dgm:cxn modelId="{141C16C5-CDC6-4194-B397-B6CD10784DB7}" srcId="{41502C4C-1996-42E0-B78B-C8E5AC4CF0C9}" destId="{25FAA86A-AFB1-4EAA-8972-A87F7D2B9CBB}" srcOrd="1" destOrd="0" parTransId="{2BBB3F57-4C11-4AFB-9243-9F926EC6D21E}" sibTransId="{872C5ECF-8A08-46FE-AF0E-D6B8C7E73233}"/>
    <dgm:cxn modelId="{37D85ECA-AAC9-4CEB-8969-E141117E24D0}" type="presOf" srcId="{F271E5E2-5FD0-40B8-88AD-9156809D3A89}" destId="{16D34593-5E79-4A85-BCAB-5F008E6F0350}" srcOrd="1" destOrd="0" presId="urn:microsoft.com/office/officeart/2005/8/layout/orgChart1"/>
    <dgm:cxn modelId="{7B7B97D6-58C9-4CF0-912E-D2227E4E815D}" type="presOf" srcId="{6A71ACC8-7E5B-45E8-967E-361B7EEA4F5A}" destId="{1165710C-3629-40D8-A226-269FE666585F}" srcOrd="0" destOrd="0" presId="urn:microsoft.com/office/officeart/2005/8/layout/orgChart1"/>
    <dgm:cxn modelId="{8E6BA5E2-95B0-469A-A473-86753BBE2E59}" type="presOf" srcId="{EE2F6DC3-8F61-4C60-80AA-E7F845F9110F}" destId="{29A78F9F-EA14-472D-9155-25B1A5289DAE}" srcOrd="1" destOrd="0" presId="urn:microsoft.com/office/officeart/2005/8/layout/orgChart1"/>
    <dgm:cxn modelId="{048157EB-B37C-4FF9-98AE-83F988A4E079}" srcId="{F271E5E2-5FD0-40B8-88AD-9156809D3A89}" destId="{AA9FAF23-76B4-4055-99F3-DDE8818B6E24}" srcOrd="1" destOrd="0" parTransId="{81F8947C-9B7D-4FA6-8CBB-F9960B2A9714}" sibTransId="{141847DF-0FE2-49FC-AEE1-95523FF79623}"/>
    <dgm:cxn modelId="{368C4FED-361B-4ACE-B5F6-F69E0E5453E3}" type="presOf" srcId="{25FAA86A-AFB1-4EAA-8972-A87F7D2B9CBB}" destId="{3CACCBB6-DE62-4FF1-8342-B4D11D4F97FB}" srcOrd="1" destOrd="0" presId="urn:microsoft.com/office/officeart/2005/8/layout/orgChart1"/>
    <dgm:cxn modelId="{0DA6A1FA-03C3-4A23-AB31-47A8BC882D34}" type="presOf" srcId="{41502C4C-1996-42E0-B78B-C8E5AC4CF0C9}" destId="{A9301E30-AE86-4E0F-A2C4-BA91C3B3027F}" srcOrd="1" destOrd="0" presId="urn:microsoft.com/office/officeart/2005/8/layout/orgChart1"/>
    <dgm:cxn modelId="{A23C41FF-771F-4D9E-A08F-26370E1C7885}" srcId="{F271E5E2-5FD0-40B8-88AD-9156809D3A89}" destId="{EE2F6DC3-8F61-4C60-80AA-E7F845F9110F}" srcOrd="0" destOrd="0" parTransId="{6A71ACC8-7E5B-45E8-967E-361B7EEA4F5A}" sibTransId="{D1170E5E-5F5E-45AC-97D3-D00FCD85A01D}"/>
    <dgm:cxn modelId="{6631BBBA-09F0-491B-9850-979FA8810B29}" type="presParOf" srcId="{925ADE29-D3F0-4F33-8126-A5C0D633553D}" destId="{F875D947-23FF-4B47-A543-DEB6F559DF04}" srcOrd="0" destOrd="0" presId="urn:microsoft.com/office/officeart/2005/8/layout/orgChart1"/>
    <dgm:cxn modelId="{949CEC8D-4B0B-4847-BDAC-4F08B782CD99}" type="presParOf" srcId="{F875D947-23FF-4B47-A543-DEB6F559DF04}" destId="{78AE3931-0AFC-4E69-A3C7-BFC1DE67F4C6}" srcOrd="0" destOrd="0" presId="urn:microsoft.com/office/officeart/2005/8/layout/orgChart1"/>
    <dgm:cxn modelId="{5EA991C8-3881-487B-ADAA-2B60C25D8C03}" type="presParOf" srcId="{78AE3931-0AFC-4E69-A3C7-BFC1DE67F4C6}" destId="{AE154B5E-6771-4BFB-86B9-B0253E8B994B}" srcOrd="0" destOrd="0" presId="urn:microsoft.com/office/officeart/2005/8/layout/orgChart1"/>
    <dgm:cxn modelId="{78A29AB4-DACD-445F-A68C-967758364546}" type="presParOf" srcId="{78AE3931-0AFC-4E69-A3C7-BFC1DE67F4C6}" destId="{16D34593-5E79-4A85-BCAB-5F008E6F0350}" srcOrd="1" destOrd="0" presId="urn:microsoft.com/office/officeart/2005/8/layout/orgChart1"/>
    <dgm:cxn modelId="{A2A5B2E3-EE60-42AD-9C8E-93EF87264BC9}" type="presParOf" srcId="{F875D947-23FF-4B47-A543-DEB6F559DF04}" destId="{BBA5DD52-CB85-4022-A158-E0B8CCBA937A}" srcOrd="1" destOrd="0" presId="urn:microsoft.com/office/officeart/2005/8/layout/orgChart1"/>
    <dgm:cxn modelId="{3527BD96-DE97-4503-9C2E-A91A20E5EC9D}" type="presParOf" srcId="{BBA5DD52-CB85-4022-A158-E0B8CCBA937A}" destId="{1165710C-3629-40D8-A226-269FE666585F}" srcOrd="0" destOrd="0" presId="urn:microsoft.com/office/officeart/2005/8/layout/orgChart1"/>
    <dgm:cxn modelId="{BCFFAEFC-D270-4FDE-9FAB-EB21E103C23D}" type="presParOf" srcId="{BBA5DD52-CB85-4022-A158-E0B8CCBA937A}" destId="{9786DDC4-91D8-4284-A748-1000CF485AC4}" srcOrd="1" destOrd="0" presId="urn:microsoft.com/office/officeart/2005/8/layout/orgChart1"/>
    <dgm:cxn modelId="{96DC1083-55EE-4C78-8DEB-944A83BDC483}" type="presParOf" srcId="{9786DDC4-91D8-4284-A748-1000CF485AC4}" destId="{C46B1678-9F9D-43C7-8AEF-41BA95F56AF2}" srcOrd="0" destOrd="0" presId="urn:microsoft.com/office/officeart/2005/8/layout/orgChart1"/>
    <dgm:cxn modelId="{C5887051-FCD8-4FD8-AE16-8C2074A16381}" type="presParOf" srcId="{C46B1678-9F9D-43C7-8AEF-41BA95F56AF2}" destId="{BE2B29F9-8339-41B4-BE4A-AB92188F3473}" srcOrd="0" destOrd="0" presId="urn:microsoft.com/office/officeart/2005/8/layout/orgChart1"/>
    <dgm:cxn modelId="{453B5704-65E4-45B2-B2E8-4E08ED1EEE1E}" type="presParOf" srcId="{C46B1678-9F9D-43C7-8AEF-41BA95F56AF2}" destId="{29A78F9F-EA14-472D-9155-25B1A5289DAE}" srcOrd="1" destOrd="0" presId="urn:microsoft.com/office/officeart/2005/8/layout/orgChart1"/>
    <dgm:cxn modelId="{5B9249F8-3E35-4AC7-8332-AB66B8B6429E}" type="presParOf" srcId="{9786DDC4-91D8-4284-A748-1000CF485AC4}" destId="{04E90F7C-5E11-432D-B835-C898CD7BAC21}" srcOrd="1" destOrd="0" presId="urn:microsoft.com/office/officeart/2005/8/layout/orgChart1"/>
    <dgm:cxn modelId="{7D576B54-11B3-4C5B-A584-39735A61236D}" type="presParOf" srcId="{9786DDC4-91D8-4284-A748-1000CF485AC4}" destId="{91BE7ABF-BF9F-4ED1-9810-425EBE604A43}" srcOrd="2" destOrd="0" presId="urn:microsoft.com/office/officeart/2005/8/layout/orgChart1"/>
    <dgm:cxn modelId="{CB4C400C-18CE-4A6A-80FE-384724A95108}" type="presParOf" srcId="{BBA5DD52-CB85-4022-A158-E0B8CCBA937A}" destId="{0F7B322E-3B8C-4A60-BF34-62B29715ADE6}" srcOrd="2" destOrd="0" presId="urn:microsoft.com/office/officeart/2005/8/layout/orgChart1"/>
    <dgm:cxn modelId="{09FA837B-661D-437C-9D3D-00C7C5B20758}" type="presParOf" srcId="{BBA5DD52-CB85-4022-A158-E0B8CCBA937A}" destId="{1D13781A-D3E9-4302-96B4-8482E01613BC}" srcOrd="3" destOrd="0" presId="urn:microsoft.com/office/officeart/2005/8/layout/orgChart1"/>
    <dgm:cxn modelId="{A5454F71-F4BF-46BC-A9ED-E932F4E4B6C7}" type="presParOf" srcId="{1D13781A-D3E9-4302-96B4-8482E01613BC}" destId="{F7893469-C581-4091-8FD0-AD239015E516}" srcOrd="0" destOrd="0" presId="urn:microsoft.com/office/officeart/2005/8/layout/orgChart1"/>
    <dgm:cxn modelId="{40D7386B-B9D7-4B50-8265-B850C2733574}" type="presParOf" srcId="{F7893469-C581-4091-8FD0-AD239015E516}" destId="{CF392E83-E478-4E48-8251-AF5BB577450D}" srcOrd="0" destOrd="0" presId="urn:microsoft.com/office/officeart/2005/8/layout/orgChart1"/>
    <dgm:cxn modelId="{8FB020CC-A19A-49C2-926E-BCD198C62543}" type="presParOf" srcId="{F7893469-C581-4091-8FD0-AD239015E516}" destId="{7E89E1B9-9DCC-4E2F-AA07-7510B7F699F5}" srcOrd="1" destOrd="0" presId="urn:microsoft.com/office/officeart/2005/8/layout/orgChart1"/>
    <dgm:cxn modelId="{FECD42D3-3C6D-437F-BE72-E25149E83624}" type="presParOf" srcId="{1D13781A-D3E9-4302-96B4-8482E01613BC}" destId="{B43173D0-8FDE-4564-B235-D2D8188D26C6}" srcOrd="1" destOrd="0" presId="urn:microsoft.com/office/officeart/2005/8/layout/orgChart1"/>
    <dgm:cxn modelId="{8114E52B-7872-4E0E-8CDA-371E0E6C2164}" type="presParOf" srcId="{1D13781A-D3E9-4302-96B4-8482E01613BC}" destId="{36A59205-BA13-4D15-9409-2DE6E95F4B88}" srcOrd="2" destOrd="0" presId="urn:microsoft.com/office/officeart/2005/8/layout/orgChart1"/>
    <dgm:cxn modelId="{8DD5772D-A4B8-4079-9C86-F91552111471}" type="presParOf" srcId="{F875D947-23FF-4B47-A543-DEB6F559DF04}" destId="{F72AB650-019F-4D66-8E62-D534E9779108}" srcOrd="2" destOrd="0" presId="urn:microsoft.com/office/officeart/2005/8/layout/orgChart1"/>
    <dgm:cxn modelId="{600DC286-0A7C-431B-BA89-31EB3EA7B475}" type="presParOf" srcId="{925ADE29-D3F0-4F33-8126-A5C0D633553D}" destId="{638C6942-3099-48D2-BE9D-7454877F6625}" srcOrd="1" destOrd="0" presId="urn:microsoft.com/office/officeart/2005/8/layout/orgChart1"/>
    <dgm:cxn modelId="{8A648772-B2C4-4C68-A030-7E77025FDF1A}" type="presParOf" srcId="{638C6942-3099-48D2-BE9D-7454877F6625}" destId="{3B967C47-1A04-49F8-B206-5D13CD36A134}" srcOrd="0" destOrd="0" presId="urn:microsoft.com/office/officeart/2005/8/layout/orgChart1"/>
    <dgm:cxn modelId="{A1E8B932-A9AB-441A-B251-9F769CEB910F}" type="presParOf" srcId="{3B967C47-1A04-49F8-B206-5D13CD36A134}" destId="{C530A7D3-D720-4945-B330-AA99535C4727}" srcOrd="0" destOrd="0" presId="urn:microsoft.com/office/officeart/2005/8/layout/orgChart1"/>
    <dgm:cxn modelId="{3B2E2D18-8C70-4FE6-92FB-0AAD91AEE75F}" type="presParOf" srcId="{3B967C47-1A04-49F8-B206-5D13CD36A134}" destId="{A9301E30-AE86-4E0F-A2C4-BA91C3B3027F}" srcOrd="1" destOrd="0" presId="urn:microsoft.com/office/officeart/2005/8/layout/orgChart1"/>
    <dgm:cxn modelId="{04BC7EA9-EDC3-4EB2-88E2-7A33D43912B4}" type="presParOf" srcId="{638C6942-3099-48D2-BE9D-7454877F6625}" destId="{9D7E09B7-9218-43E4-99B8-1E2482B480A3}" srcOrd="1" destOrd="0" presId="urn:microsoft.com/office/officeart/2005/8/layout/orgChart1"/>
    <dgm:cxn modelId="{063FA618-2683-4BF0-A0A7-A350B34F9E72}" type="presParOf" srcId="{9D7E09B7-9218-43E4-99B8-1E2482B480A3}" destId="{785B0F33-133E-4BC4-B84C-30396DB4DCC9}" srcOrd="0" destOrd="0" presId="urn:microsoft.com/office/officeart/2005/8/layout/orgChart1"/>
    <dgm:cxn modelId="{ACA1146A-AE4B-4079-AE2A-E2C1ED2F4565}" type="presParOf" srcId="{9D7E09B7-9218-43E4-99B8-1E2482B480A3}" destId="{F232C98D-5580-47A3-A353-855789625CBF}" srcOrd="1" destOrd="0" presId="urn:microsoft.com/office/officeart/2005/8/layout/orgChart1"/>
    <dgm:cxn modelId="{EE81A031-F7A8-48FE-A2B5-963DF89EF2D9}" type="presParOf" srcId="{F232C98D-5580-47A3-A353-855789625CBF}" destId="{25DA4108-5E20-4D8C-B22F-ED6E92972958}" srcOrd="0" destOrd="0" presId="urn:microsoft.com/office/officeart/2005/8/layout/orgChart1"/>
    <dgm:cxn modelId="{73C09815-46A7-4DA9-931E-DE1FFC651CE3}" type="presParOf" srcId="{25DA4108-5E20-4D8C-B22F-ED6E92972958}" destId="{8F4BD83D-29FF-4D38-B659-03C64AAE6C7D}" srcOrd="0" destOrd="0" presId="urn:microsoft.com/office/officeart/2005/8/layout/orgChart1"/>
    <dgm:cxn modelId="{8B184413-F8D7-413E-977A-A818E6CEA08D}" type="presParOf" srcId="{25DA4108-5E20-4D8C-B22F-ED6E92972958}" destId="{D47DB6A3-FA5F-43CB-9C1E-50B6509A8777}" srcOrd="1" destOrd="0" presId="urn:microsoft.com/office/officeart/2005/8/layout/orgChart1"/>
    <dgm:cxn modelId="{22494AC4-F596-40F7-83C7-C2966D23E86D}" type="presParOf" srcId="{F232C98D-5580-47A3-A353-855789625CBF}" destId="{0673AA8D-9196-40A2-8AB2-77EC5CE1DD07}" srcOrd="1" destOrd="0" presId="urn:microsoft.com/office/officeart/2005/8/layout/orgChart1"/>
    <dgm:cxn modelId="{419F4E6D-9D6A-4242-9440-15EF8FECBC85}" type="presParOf" srcId="{F232C98D-5580-47A3-A353-855789625CBF}" destId="{B4C33858-A100-4D38-A88C-1BF77EE57EDE}" srcOrd="2" destOrd="0" presId="urn:microsoft.com/office/officeart/2005/8/layout/orgChart1"/>
    <dgm:cxn modelId="{4E1CD9AA-91CA-4D38-9A82-2D9D1DC5873A}" type="presParOf" srcId="{9D7E09B7-9218-43E4-99B8-1E2482B480A3}" destId="{AC889C82-E399-4012-A813-2AAC2EDF9CAF}" srcOrd="2" destOrd="0" presId="urn:microsoft.com/office/officeart/2005/8/layout/orgChart1"/>
    <dgm:cxn modelId="{5BF62723-EBAF-4B03-A912-6A3903460E9C}" type="presParOf" srcId="{9D7E09B7-9218-43E4-99B8-1E2482B480A3}" destId="{F8ECDA96-B196-44A4-9F3A-FD38424BF3C8}" srcOrd="3" destOrd="0" presId="urn:microsoft.com/office/officeart/2005/8/layout/orgChart1"/>
    <dgm:cxn modelId="{A461E793-BC5C-4E76-910E-AC70A7BD94D3}" type="presParOf" srcId="{F8ECDA96-B196-44A4-9F3A-FD38424BF3C8}" destId="{D38002B6-2C1C-42DF-ABF0-E23B0AA582F9}" srcOrd="0" destOrd="0" presId="urn:microsoft.com/office/officeart/2005/8/layout/orgChart1"/>
    <dgm:cxn modelId="{265FC042-7D06-443F-9B7F-2BB19B97493D}" type="presParOf" srcId="{D38002B6-2C1C-42DF-ABF0-E23B0AA582F9}" destId="{31C89638-D7EC-4D42-A5E7-A34A1E4AA550}" srcOrd="0" destOrd="0" presId="urn:microsoft.com/office/officeart/2005/8/layout/orgChart1"/>
    <dgm:cxn modelId="{5FDF7ADF-D9E1-4096-BE19-8C34E041E124}" type="presParOf" srcId="{D38002B6-2C1C-42DF-ABF0-E23B0AA582F9}" destId="{3CACCBB6-DE62-4FF1-8342-B4D11D4F97FB}" srcOrd="1" destOrd="0" presId="urn:microsoft.com/office/officeart/2005/8/layout/orgChart1"/>
    <dgm:cxn modelId="{8047A785-E625-4763-A404-20185614997C}" type="presParOf" srcId="{F8ECDA96-B196-44A4-9F3A-FD38424BF3C8}" destId="{81D94066-3B2A-42AE-8CFE-882DC0BABB9E}" srcOrd="1" destOrd="0" presId="urn:microsoft.com/office/officeart/2005/8/layout/orgChart1"/>
    <dgm:cxn modelId="{D637DCA6-87CD-4A58-9334-2480D0F1D58C}" type="presParOf" srcId="{F8ECDA96-B196-44A4-9F3A-FD38424BF3C8}" destId="{4DF81B9F-FAF5-42C5-92A0-38306BF1E280}" srcOrd="2" destOrd="0" presId="urn:microsoft.com/office/officeart/2005/8/layout/orgChart1"/>
    <dgm:cxn modelId="{6524EA76-3475-4EE6-B591-000C8842A66D}" type="presParOf" srcId="{638C6942-3099-48D2-BE9D-7454877F6625}" destId="{F4C04B21-E26A-4715-B79D-00C80B63D802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889C82-E399-4012-A813-2AAC2EDF9CAF}">
      <dsp:nvSpPr>
        <dsp:cNvPr id="0" name=""/>
        <dsp:cNvSpPr/>
      </dsp:nvSpPr>
      <dsp:spPr>
        <a:xfrm>
          <a:off x="4701233" y="1891252"/>
          <a:ext cx="806329" cy="2798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9941"/>
              </a:lnTo>
              <a:lnTo>
                <a:pt x="806329" y="139941"/>
              </a:lnTo>
              <a:lnTo>
                <a:pt x="806329" y="2798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5B0F33-133E-4BC4-B84C-30396DB4DCC9}">
      <dsp:nvSpPr>
        <dsp:cNvPr id="0" name=""/>
        <dsp:cNvSpPr/>
      </dsp:nvSpPr>
      <dsp:spPr>
        <a:xfrm>
          <a:off x="3894903" y="1891252"/>
          <a:ext cx="806329" cy="279883"/>
        </a:xfrm>
        <a:custGeom>
          <a:avLst/>
          <a:gdLst/>
          <a:ahLst/>
          <a:cxnLst/>
          <a:rect l="0" t="0" r="0" b="0"/>
          <a:pathLst>
            <a:path>
              <a:moveTo>
                <a:pt x="806329" y="0"/>
              </a:moveTo>
              <a:lnTo>
                <a:pt x="806329" y="139941"/>
              </a:lnTo>
              <a:lnTo>
                <a:pt x="0" y="139941"/>
              </a:lnTo>
              <a:lnTo>
                <a:pt x="0" y="2798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7B322E-3B8C-4A60-BF34-62B29715ADE6}">
      <dsp:nvSpPr>
        <dsp:cNvPr id="0" name=""/>
        <dsp:cNvSpPr/>
      </dsp:nvSpPr>
      <dsp:spPr>
        <a:xfrm>
          <a:off x="1475913" y="1891252"/>
          <a:ext cx="806329" cy="2798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9941"/>
              </a:lnTo>
              <a:lnTo>
                <a:pt x="806329" y="139941"/>
              </a:lnTo>
              <a:lnTo>
                <a:pt x="806329" y="2798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65710C-3629-40D8-A226-269FE666585F}">
      <dsp:nvSpPr>
        <dsp:cNvPr id="0" name=""/>
        <dsp:cNvSpPr/>
      </dsp:nvSpPr>
      <dsp:spPr>
        <a:xfrm>
          <a:off x="669583" y="1891252"/>
          <a:ext cx="806329" cy="279883"/>
        </a:xfrm>
        <a:custGeom>
          <a:avLst/>
          <a:gdLst/>
          <a:ahLst/>
          <a:cxnLst/>
          <a:rect l="0" t="0" r="0" b="0"/>
          <a:pathLst>
            <a:path>
              <a:moveTo>
                <a:pt x="806329" y="0"/>
              </a:moveTo>
              <a:lnTo>
                <a:pt x="806329" y="139941"/>
              </a:lnTo>
              <a:lnTo>
                <a:pt x="0" y="139941"/>
              </a:lnTo>
              <a:lnTo>
                <a:pt x="0" y="2798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154B5E-6771-4BFB-86B9-B0253E8B994B}">
      <dsp:nvSpPr>
        <dsp:cNvPr id="0" name=""/>
        <dsp:cNvSpPr/>
      </dsp:nvSpPr>
      <dsp:spPr>
        <a:xfrm>
          <a:off x="102347" y="1224864"/>
          <a:ext cx="2747132" cy="666388"/>
        </a:xfrm>
        <a:prstGeom prst="rect">
          <a:avLst/>
        </a:prstGeom>
        <a:solidFill>
          <a:schemeClr val="bg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300" b="0" i="0" kern="1200" dirty="0">
              <a:solidFill>
                <a:schemeClr val="tx1"/>
              </a:solidFill>
            </a:rPr>
            <a:t>110 </a:t>
          </a:r>
          <a:r>
            <a:rPr lang="pl-PL" sz="1300" b="0" i="0" kern="1200" dirty="0" err="1">
              <a:solidFill>
                <a:schemeClr val="tx1"/>
              </a:solidFill>
            </a:rPr>
            <a:t>kV</a:t>
          </a:r>
          <a:r>
            <a:rPr lang="pl-PL" sz="1300" b="0" i="0" kern="1200" dirty="0">
              <a:solidFill>
                <a:schemeClr val="tx1"/>
              </a:solidFill>
            </a:rPr>
            <a:t> RPZ Poznańska – RPZ Mory</a:t>
          </a:r>
          <a:endParaRPr lang="pl-PL" sz="1300" kern="1200" dirty="0">
            <a:solidFill>
              <a:schemeClr val="tx1"/>
            </a:solidFill>
          </a:endParaRPr>
        </a:p>
      </dsp:txBody>
      <dsp:txXfrm>
        <a:off x="102347" y="1224864"/>
        <a:ext cx="2747132" cy="666388"/>
      </dsp:txXfrm>
    </dsp:sp>
    <dsp:sp modelId="{BE2B29F9-8339-41B4-BE4A-AB92188F3473}">
      <dsp:nvSpPr>
        <dsp:cNvPr id="0" name=""/>
        <dsp:cNvSpPr/>
      </dsp:nvSpPr>
      <dsp:spPr>
        <a:xfrm>
          <a:off x="3195" y="2171136"/>
          <a:ext cx="1332776" cy="666388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300" kern="1200" dirty="0">
              <a:solidFill>
                <a:schemeClr val="tx1"/>
              </a:solidFill>
            </a:rPr>
            <a:t>Bemowo</a:t>
          </a:r>
        </a:p>
      </dsp:txBody>
      <dsp:txXfrm>
        <a:off x="3195" y="2171136"/>
        <a:ext cx="1332776" cy="666388"/>
      </dsp:txXfrm>
    </dsp:sp>
    <dsp:sp modelId="{CF392E83-E478-4E48-8251-AF5BB577450D}">
      <dsp:nvSpPr>
        <dsp:cNvPr id="0" name=""/>
        <dsp:cNvSpPr/>
      </dsp:nvSpPr>
      <dsp:spPr>
        <a:xfrm>
          <a:off x="1615855" y="2171136"/>
          <a:ext cx="1332776" cy="666388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300" kern="1200" dirty="0">
              <a:solidFill>
                <a:schemeClr val="tx1"/>
              </a:solidFill>
            </a:rPr>
            <a:t>Ożarów Mazowiecki</a:t>
          </a:r>
        </a:p>
      </dsp:txBody>
      <dsp:txXfrm>
        <a:off x="1615855" y="2171136"/>
        <a:ext cx="1332776" cy="666388"/>
      </dsp:txXfrm>
    </dsp:sp>
    <dsp:sp modelId="{C530A7D3-D720-4945-B330-AA99535C4727}">
      <dsp:nvSpPr>
        <dsp:cNvPr id="0" name=""/>
        <dsp:cNvSpPr/>
      </dsp:nvSpPr>
      <dsp:spPr>
        <a:xfrm>
          <a:off x="3369043" y="1224864"/>
          <a:ext cx="2664380" cy="666388"/>
        </a:xfrm>
        <a:prstGeom prst="rect">
          <a:avLst/>
        </a:prstGeom>
        <a:solidFill>
          <a:schemeClr val="bg2"/>
        </a:solidFill>
        <a:ln w="12700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300" kern="1200" dirty="0">
              <a:solidFill>
                <a:schemeClr val="tx1"/>
              </a:solidFill>
            </a:rPr>
            <a:t>Siekierki – Międzylesie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300" kern="1200" dirty="0">
              <a:solidFill>
                <a:schemeClr val="tx1"/>
              </a:solidFill>
            </a:rPr>
            <a:t>w przęsłach (55-56W i 60W-61), sekcja wiślana</a:t>
          </a:r>
        </a:p>
      </dsp:txBody>
      <dsp:txXfrm>
        <a:off x="3369043" y="1224864"/>
        <a:ext cx="2664380" cy="666388"/>
      </dsp:txXfrm>
    </dsp:sp>
    <dsp:sp modelId="{8F4BD83D-29FF-4D38-B659-03C64AAE6C7D}">
      <dsp:nvSpPr>
        <dsp:cNvPr id="0" name=""/>
        <dsp:cNvSpPr/>
      </dsp:nvSpPr>
      <dsp:spPr>
        <a:xfrm>
          <a:off x="3228515" y="2171136"/>
          <a:ext cx="1332776" cy="666388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300" kern="1200" dirty="0">
              <a:solidFill>
                <a:schemeClr val="tx1"/>
              </a:solidFill>
            </a:rPr>
            <a:t>Mokotów</a:t>
          </a:r>
        </a:p>
      </dsp:txBody>
      <dsp:txXfrm>
        <a:off x="3228515" y="2171136"/>
        <a:ext cx="1332776" cy="666388"/>
      </dsp:txXfrm>
    </dsp:sp>
    <dsp:sp modelId="{31C89638-D7EC-4D42-A5E7-A34A1E4AA550}">
      <dsp:nvSpPr>
        <dsp:cNvPr id="0" name=""/>
        <dsp:cNvSpPr/>
      </dsp:nvSpPr>
      <dsp:spPr>
        <a:xfrm>
          <a:off x="4841174" y="2171136"/>
          <a:ext cx="1332776" cy="666388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300" kern="1200" dirty="0">
              <a:solidFill>
                <a:schemeClr val="tx1"/>
              </a:solidFill>
            </a:rPr>
            <a:t>Wawer</a:t>
          </a:r>
        </a:p>
      </dsp:txBody>
      <dsp:txXfrm>
        <a:off x="4841174" y="2171136"/>
        <a:ext cx="1332776" cy="6663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819BC6-EFFD-4906-86FE-EBC070CB621F}" type="datetimeFigureOut">
              <a:rPr lang="pl-PL" smtClean="0"/>
              <a:t>21.10.2025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B8CD2F-6AD1-468F-A9B8-DC5794486CED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5975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B8CD2F-6AD1-468F-A9B8-DC5794486CED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8419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J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B8CD2F-6AD1-468F-A9B8-DC5794486CED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20459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J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B8CD2F-6AD1-468F-A9B8-DC5794486CED}" type="slidenum">
              <a:rPr lang="pl-PL" smtClean="0"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8243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855997-D2D5-0852-5A30-C2BF9F54B7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A92584-C3E9-5712-962A-4DDCD86950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8D2383-A15E-3BC8-C915-A952707A69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J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DE6BEE-B234-DB32-260A-A3C67C2E55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B8CD2F-6AD1-468F-A9B8-DC5794486CED}" type="slidenum">
              <a:rPr lang="pl-PL" smtClean="0"/>
              <a:t>1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843480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36997F-0F45-18F2-2A0A-B0370C1779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94DE63-F2F6-9BD7-A1CF-22C4F0EA1C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DD9B69-9333-04DE-8D8F-4AEEF9D4CF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J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3F190A-6D97-4A7F-4675-E5A0D39BD3B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B8CD2F-6AD1-468F-A9B8-DC5794486CED}" type="slidenum">
              <a:rPr lang="pl-PL" smtClean="0"/>
              <a:t>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355555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sv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BE9D89B0-C598-4F27-9977-9A68DC5BB01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3793067" y="6308725"/>
            <a:ext cx="7008284" cy="28733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800" b="1"/>
              <a:t>RWE</a:t>
            </a:r>
            <a:r>
              <a:rPr lang="en-US" altLang="en-US" sz="800"/>
              <a:t> </a:t>
            </a:r>
            <a:r>
              <a:rPr lang="pl-PL" altLang="en-US" sz="800"/>
              <a:t> Stoen Operator Sp. z o.o.</a:t>
            </a:r>
            <a:r>
              <a:rPr lang="en-US" altLang="en-US" sz="800"/>
              <a:t>   </a:t>
            </a:r>
            <a:fld id="{00790B13-8D25-4B14-9A30-69EA46B064AA}" type="datetime1">
              <a:rPr lang="en-US" altLang="en-US" sz="800" smtClean="0"/>
              <a:pPr algn="r" eaLnBrk="1" hangingPunct="1">
                <a:defRPr/>
              </a:pPr>
              <a:t>10/21/2025</a:t>
            </a:fld>
            <a:r>
              <a:rPr lang="en-US" altLang="en-US" sz="800"/>
              <a:t>   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865858D-6093-4132-BAEC-E6C7482381D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1279718" y="6308725"/>
            <a:ext cx="768349" cy="28733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/>
              <a:t>PAGE </a:t>
            </a:r>
            <a:fld id="{F03CDA35-C4C1-4831-9052-A1488881D055}" type="slidenum">
              <a:rPr lang="en-US" altLang="en-US" sz="800" smtClean="0"/>
              <a:pPr eaLnBrk="1" hangingPunct="1">
                <a:defRPr/>
              </a:pPr>
              <a:t>‹#›</a:t>
            </a:fld>
            <a:endParaRPr lang="en-US" altLang="en-US" sz="800"/>
          </a:p>
        </p:txBody>
      </p:sp>
      <p:pic>
        <p:nvPicPr>
          <p:cNvPr id="6" name="Picture 6" descr="Logos_PPT_RWE">
            <a:extLst>
              <a:ext uri="{FF2B5EF4-FFF2-40B4-BE49-F238E27FC236}">
                <a16:creationId xmlns:a16="http://schemas.microsoft.com/office/drawing/2014/main" id="{37BCED86-C760-4A65-96A0-023596A7E95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66"/>
          <a:stretch>
            <a:fillRect/>
          </a:stretch>
        </p:blipFill>
        <p:spPr bwMode="auto">
          <a:xfrm>
            <a:off x="1" y="4700588"/>
            <a:ext cx="4256617" cy="2157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10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2285" y="908050"/>
            <a:ext cx="10367433" cy="1944688"/>
          </a:xfrm>
        </p:spPr>
        <p:txBody>
          <a:bodyPr tIns="0"/>
          <a:lstStyle>
            <a:lvl1pPr>
              <a:defRPr sz="4000"/>
            </a:lvl1pPr>
          </a:lstStyle>
          <a:p>
            <a:r>
              <a:rPr lang="en-US"/>
              <a:t>Titelmasterformat durch Klicken bearbeiten</a:t>
            </a:r>
          </a:p>
        </p:txBody>
      </p:sp>
      <p:sp>
        <p:nvSpPr>
          <p:cNvPr id="3010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2285" y="2997200"/>
            <a:ext cx="10367433" cy="1233488"/>
          </a:xfrm>
        </p:spPr>
        <p:txBody>
          <a:bodyPr/>
          <a:lstStyle>
            <a:lvl1pPr marL="0" indent="0">
              <a:spcAft>
                <a:spcPct val="0"/>
              </a:spcAft>
              <a:buFont typeface="Arial" charset="0"/>
              <a:buNone/>
              <a:tabLst/>
              <a:defRPr sz="3600"/>
            </a:lvl1pPr>
          </a:lstStyle>
          <a:p>
            <a:r>
              <a:rPr lang="en-US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525592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227089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688917" y="477839"/>
            <a:ext cx="2590800" cy="5614987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912285" y="477839"/>
            <a:ext cx="7573433" cy="5614987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839166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D648E009-BB98-9E35-EA66-436B411E8A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08162"/>
            <a:ext cx="2555266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9563D87D-9B7E-CB86-AD42-793930BBC5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9151" y="1808162"/>
            <a:ext cx="2556850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B04EEFA6-9DB8-5952-1B19-2DC826ECF7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9" y="1808162"/>
            <a:ext cx="2557461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52F93D3B-4527-E2A4-E384-5954C4A981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56699" y="1808162"/>
            <a:ext cx="2555875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6A382-6C8F-47AC-8159-CEF5D0E4BE41}" type="datetime1">
              <a:rPr lang="en-GB" noProof="0" smtClean="0"/>
              <a:t>21/10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Szablon PowerPoint Stoen Opera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75514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3727" userDrawn="1">
          <p15:clr>
            <a:srgbClr val="FBAE40"/>
          </p15:clr>
        </p15:guide>
        <p15:guide id="8" pos="3953" userDrawn="1">
          <p15:clr>
            <a:srgbClr val="FBAE40"/>
          </p15:clr>
        </p15:guide>
        <p15:guide id="9" pos="5564" userDrawn="1">
          <p15:clr>
            <a:srgbClr val="FBAE40"/>
          </p15:clr>
        </p15:guide>
        <p15:guide id="10" pos="576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E8E1D3-E97A-4D5C-AB01-E28AD19B5E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6C5836-888C-431F-B359-88FB1325DDEA}" type="datetimeFigureOut">
              <a:rPr lang="en-US" smtClean="0"/>
              <a:t>10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BFDC42-4A63-436D-A68B-802CE3D669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A7DDA1-0E22-4B2F-B8CC-A6C565D08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35496-FC3F-4BE2-84CA-615D993064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18482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601F99-DE20-4CE1-871B-9119FF233B51}" type="datetime1">
              <a:rPr lang="en-GB" noProof="0" smtClean="0"/>
              <a:t>21/10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Szablon PowerPoint Stoen Opera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359818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  <p15:guide id="2" orient="horz" pos="372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A1C28-9BD3-49B8-8A44-D87DDAB59F48}" type="datetime1">
              <a:rPr lang="en-GB" noProof="0" smtClean="0"/>
              <a:t>21/10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Szablon PowerPoint Stoen Opera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0575" y="1807200"/>
            <a:ext cx="11232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545695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  <p15:guide id="2" orient="horz" pos="372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latin typeface="EON Brix Sans Black" panose="020B0A04040000000000" pitchFamily="34" charset="-18"/>
                <a:cs typeface="EON Office Head" pitchFamily="2" charset="0"/>
              </a:defRPr>
            </a:lvl1pPr>
          </a:lstStyle>
          <a:p>
            <a:r>
              <a:rPr lang="en-GB" noProof="0"/>
              <a:t>Title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59D5AD2-71A5-4E3D-49E2-BB3180F015B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79375" y="6050859"/>
            <a:ext cx="5616575" cy="360000"/>
          </a:xfrm>
        </p:spPr>
        <p:txBody>
          <a:bodyPr anchor="b"/>
          <a:lstStyle>
            <a:lvl1pPr algn="l">
              <a:lnSpc>
                <a:spcPct val="10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fld id="{F0EAF0B0-02B5-4EB7-8D8B-804E6D85A9FA}" type="datetime1">
              <a:rPr lang="en-GB" noProof="0" smtClean="0"/>
              <a:t>21/10/2025</a:t>
            </a:fld>
            <a:endParaRPr lang="en-GB" noProof="0"/>
          </a:p>
        </p:txBody>
      </p:sp>
      <p:pic>
        <p:nvPicPr>
          <p:cNvPr id="7" name="Grafika 6">
            <a:extLst>
              <a:ext uri="{FF2B5EF4-FFF2-40B4-BE49-F238E27FC236}">
                <a16:creationId xmlns:a16="http://schemas.microsoft.com/office/drawing/2014/main" id="{1AA8BB03-560D-F209-DC40-FB19223A2F2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54342" y="5436814"/>
            <a:ext cx="1658234" cy="908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21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F0C872-7F74-45E1-84DF-322009647BA7}" type="datetime1">
              <a:rPr lang="en-GB" noProof="0" smtClean="0"/>
              <a:t>21/10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Szablon PowerPoint Stoen Opera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724FCAC5-11F5-9A4C-F9DC-4A81828929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1</a:t>
            </a:r>
          </a:p>
        </p:txBody>
      </p:sp>
      <p:sp>
        <p:nvSpPr>
          <p:cNvPr id="61" name="Text Placeholder 59">
            <a:extLst>
              <a:ext uri="{FF2B5EF4-FFF2-40B4-BE49-F238E27FC236}">
                <a16:creationId xmlns:a16="http://schemas.microsoft.com/office/drawing/2014/main" id="{FACD359C-D847-4B82-D96F-7456AFF3D7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7144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2</a:t>
            </a:r>
          </a:p>
        </p:txBody>
      </p:sp>
      <p:sp>
        <p:nvSpPr>
          <p:cNvPr id="62" name="Text Placeholder 59">
            <a:extLst>
              <a:ext uri="{FF2B5EF4-FFF2-40B4-BE49-F238E27FC236}">
                <a16:creationId xmlns:a16="http://schemas.microsoft.com/office/drawing/2014/main" id="{3A6CBA61-2475-CC89-F9C3-C02028C81A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4288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3</a:t>
            </a:r>
          </a:p>
        </p:txBody>
      </p:sp>
      <p:sp>
        <p:nvSpPr>
          <p:cNvPr id="63" name="Text Placeholder 59">
            <a:extLst>
              <a:ext uri="{FF2B5EF4-FFF2-40B4-BE49-F238E27FC236}">
                <a16:creationId xmlns:a16="http://schemas.microsoft.com/office/drawing/2014/main" id="{08F4EFE1-28F5-581B-F05D-38EBBE1ED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11432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4</a:t>
            </a:r>
          </a:p>
        </p:txBody>
      </p:sp>
      <p:sp>
        <p:nvSpPr>
          <p:cNvPr id="64" name="Text Placeholder 59">
            <a:extLst>
              <a:ext uri="{FF2B5EF4-FFF2-40B4-BE49-F238E27FC236}">
                <a16:creationId xmlns:a16="http://schemas.microsoft.com/office/drawing/2014/main" id="{AB30CC30-1713-8F61-2722-FED948533C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88000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5</a:t>
            </a:r>
          </a:p>
        </p:txBody>
      </p:sp>
      <p:sp>
        <p:nvSpPr>
          <p:cNvPr id="73" name="Text Placeholder 70">
            <a:extLst>
              <a:ext uri="{FF2B5EF4-FFF2-40B4-BE49-F238E27FC236}">
                <a16:creationId xmlns:a16="http://schemas.microsoft.com/office/drawing/2014/main" id="{FA15A0FC-E301-BBB8-6C26-2D2AA6D60F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6651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noProof="0"/>
              <a:t>DD.MM.YYYY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Next step</a:t>
            </a:r>
          </a:p>
          <a:p>
            <a:pPr lvl="0"/>
            <a:r>
              <a:rPr lang="en-GB" b="0" noProof="0"/>
              <a:t>Fusce tristique, orci nec mollis aliquet, tortor velit blandit urna, sed gravida odio quam ut leo.</a:t>
            </a:r>
            <a:endParaRPr lang="en-GB" noProof="0"/>
          </a:p>
          <a:p>
            <a:pPr lvl="0"/>
            <a:endParaRPr lang="en-GB" noProof="0"/>
          </a:p>
        </p:txBody>
      </p:sp>
      <p:sp>
        <p:nvSpPr>
          <p:cNvPr id="76" name="Text Placeholder 70">
            <a:extLst>
              <a:ext uri="{FF2B5EF4-FFF2-40B4-BE49-F238E27FC236}">
                <a16:creationId xmlns:a16="http://schemas.microsoft.com/office/drawing/2014/main" id="{F884D185-C4E4-F2B6-F85D-0F97BCF7F3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09507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noProof="0"/>
              <a:t>DD.MM.YYYY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Next step</a:t>
            </a:r>
          </a:p>
          <a:p>
            <a:pPr lvl="0"/>
            <a:r>
              <a:rPr lang="en-GB" b="0" noProof="0"/>
              <a:t>Fusce tristique, orci nec mollis aliquet, tortor velit blandit urna, sed gravida odio quam ut leo.</a:t>
            </a:r>
            <a:endParaRPr lang="en-GB" noProof="0"/>
          </a:p>
          <a:p>
            <a:pPr lvl="0"/>
            <a:endParaRPr lang="en-GB" noProof="0"/>
          </a:p>
        </p:txBody>
      </p:sp>
      <p:sp>
        <p:nvSpPr>
          <p:cNvPr id="77" name="Text Placeholder 70">
            <a:extLst>
              <a:ext uri="{FF2B5EF4-FFF2-40B4-BE49-F238E27FC236}">
                <a16:creationId xmlns:a16="http://schemas.microsoft.com/office/drawing/2014/main" id="{049757F1-D506-2C2C-269C-5FC0FDF083E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363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noProof="0"/>
              <a:t>DD.MM.YYYY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Next step</a:t>
            </a:r>
          </a:p>
          <a:p>
            <a:pPr lvl="0"/>
            <a:r>
              <a:rPr lang="en-GB" b="0" noProof="0" err="1"/>
              <a:t>Fusce</a:t>
            </a:r>
            <a:r>
              <a:rPr lang="en-GB" b="0" noProof="0"/>
              <a:t> </a:t>
            </a:r>
            <a:r>
              <a:rPr lang="en-GB" b="0" noProof="0" err="1"/>
              <a:t>tristique</a:t>
            </a:r>
            <a:r>
              <a:rPr lang="en-GB" b="0" noProof="0"/>
              <a:t>, </a:t>
            </a:r>
            <a:r>
              <a:rPr lang="en-GB" b="0" noProof="0" err="1"/>
              <a:t>orci</a:t>
            </a:r>
            <a:r>
              <a:rPr lang="en-GB" b="0" noProof="0"/>
              <a:t> </a:t>
            </a:r>
            <a:r>
              <a:rPr lang="en-GB" b="0" noProof="0" err="1"/>
              <a:t>nec</a:t>
            </a:r>
            <a:r>
              <a:rPr lang="en-GB" b="0" noProof="0"/>
              <a:t> </a:t>
            </a:r>
            <a:r>
              <a:rPr lang="en-GB" b="0" noProof="0" err="1"/>
              <a:t>mollis</a:t>
            </a:r>
            <a:r>
              <a:rPr lang="en-GB" b="0" noProof="0"/>
              <a:t> </a:t>
            </a:r>
            <a:r>
              <a:rPr lang="en-GB" b="0" noProof="0" err="1"/>
              <a:t>aliquet</a:t>
            </a:r>
            <a:r>
              <a:rPr lang="en-GB" b="0" noProof="0"/>
              <a:t>, </a:t>
            </a:r>
            <a:r>
              <a:rPr lang="en-GB" b="0" noProof="0" err="1"/>
              <a:t>tortor</a:t>
            </a:r>
            <a:r>
              <a:rPr lang="en-GB" b="0" noProof="0"/>
              <a:t> </a:t>
            </a:r>
            <a:r>
              <a:rPr lang="en-GB" b="0" noProof="0" err="1"/>
              <a:t>velit</a:t>
            </a:r>
            <a:r>
              <a:rPr lang="en-GB" b="0" noProof="0"/>
              <a:t> </a:t>
            </a:r>
            <a:r>
              <a:rPr lang="en-GB" b="0" noProof="0" err="1"/>
              <a:t>blandit</a:t>
            </a:r>
            <a:r>
              <a:rPr lang="en-GB" b="0" noProof="0"/>
              <a:t> </a:t>
            </a:r>
            <a:r>
              <a:rPr lang="en-GB" b="0" noProof="0" err="1"/>
              <a:t>urna</a:t>
            </a:r>
            <a:r>
              <a:rPr lang="en-GB" b="0" noProof="0"/>
              <a:t>, </a:t>
            </a:r>
            <a:r>
              <a:rPr lang="en-GB" b="0" noProof="0" err="1"/>
              <a:t>sed</a:t>
            </a:r>
            <a:r>
              <a:rPr lang="en-GB" b="0" noProof="0"/>
              <a:t> gravida </a:t>
            </a:r>
            <a:r>
              <a:rPr lang="en-GB" b="0" noProof="0" err="1"/>
              <a:t>odio</a:t>
            </a:r>
            <a:r>
              <a:rPr lang="en-GB" b="0" noProof="0"/>
              <a:t> </a:t>
            </a:r>
            <a:r>
              <a:rPr lang="en-GB" b="0" noProof="0" err="1"/>
              <a:t>quam</a:t>
            </a:r>
            <a:r>
              <a:rPr lang="en-GB" b="0" noProof="0"/>
              <a:t> </a:t>
            </a:r>
            <a:r>
              <a:rPr lang="en-GB" b="0" noProof="0" err="1"/>
              <a:t>ut</a:t>
            </a:r>
            <a:r>
              <a:rPr lang="en-GB" b="0" noProof="0"/>
              <a:t> </a:t>
            </a:r>
            <a:r>
              <a:rPr lang="en-GB" b="0" noProof="0" err="1"/>
              <a:t>leo</a:t>
            </a:r>
            <a:r>
              <a:rPr lang="en-GB" b="0" noProof="0"/>
              <a:t>.</a:t>
            </a:r>
            <a:endParaRPr lang="en-GB" noProof="0"/>
          </a:p>
          <a:p>
            <a:pPr lvl="0"/>
            <a:endParaRPr lang="en-GB" noProof="0"/>
          </a:p>
        </p:txBody>
      </p:sp>
      <p:sp>
        <p:nvSpPr>
          <p:cNvPr id="78" name="Text Placeholder 70">
            <a:extLst>
              <a:ext uri="{FF2B5EF4-FFF2-40B4-BE49-F238E27FC236}">
                <a16:creationId xmlns:a16="http://schemas.microsoft.com/office/drawing/2014/main" id="{B14F01AA-43F5-F834-B7F6-3949E5206A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63795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noProof="0"/>
              <a:t>DD.MM.YYYY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Next step</a:t>
            </a:r>
          </a:p>
          <a:p>
            <a:pPr lvl="0"/>
            <a:r>
              <a:rPr lang="en-GB" b="0" noProof="0"/>
              <a:t>Fusce tristique, orci nec mollis aliquet, tortor velit blandit urna, sed gravida odio quam ut leo.</a:t>
            </a:r>
            <a:endParaRPr lang="en-GB" noProof="0"/>
          </a:p>
          <a:p>
            <a:pPr lvl="0"/>
            <a:endParaRPr lang="en-GB" noProof="0"/>
          </a:p>
        </p:txBody>
      </p:sp>
      <p:sp>
        <p:nvSpPr>
          <p:cNvPr id="79" name="Text Placeholder 70">
            <a:extLst>
              <a:ext uri="{FF2B5EF4-FFF2-40B4-BE49-F238E27FC236}">
                <a16:creationId xmlns:a16="http://schemas.microsoft.com/office/drawing/2014/main" id="{6CE067F8-251E-8C0B-ACA3-8B0217FB0B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0363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noProof="0"/>
              <a:t>DD.MM.YYYY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Next step</a:t>
            </a:r>
          </a:p>
          <a:p>
            <a:pPr lvl="0"/>
            <a:r>
              <a:rPr lang="en-GB" b="0" noProof="0"/>
              <a:t>Fusce tristique, orci nec mollis aliquet, tortor velit blandit urna, sed gravida odio quam ut leo.</a:t>
            </a:r>
            <a:endParaRPr lang="en-GB" noProof="0"/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25953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2E56A6B5-6638-1EBD-C8EC-8B45B057CC9C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en-GB" noProof="0"/>
              <a:t>Szablon PowerPoint Stoen Operator</a:t>
            </a:r>
          </a:p>
        </p:txBody>
      </p:sp>
      <p:sp>
        <p:nvSpPr>
          <p:cNvPr id="13" name="Foliennummernplatzhalter 6">
            <a:extLst>
              <a:ext uri="{FF2B5EF4-FFF2-40B4-BE49-F238E27FC236}">
                <a16:creationId xmlns:a16="http://schemas.microsoft.com/office/drawing/2014/main" id="{F8125B0E-A430-BE60-8185-DF418040DB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2CA009F2-CDFA-1DA7-02B3-838E5290068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nsert Pictur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solidFill>
                  <a:schemeClr val="bg1"/>
                </a:solidFill>
                <a:latin typeface="EON Brix Sans Black" panose="020B0A04040000000000" pitchFamily="34" charset="-18"/>
                <a:cs typeface="EON Office Head" pitchFamily="2" charset="0"/>
              </a:defRPr>
            </a:lvl1pPr>
          </a:lstStyle>
          <a:p>
            <a:r>
              <a:rPr lang="en-GB" noProof="0"/>
              <a:t>Title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4992822-E94C-1702-FD5A-3197C5DBF06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479375" y="6050859"/>
            <a:ext cx="5616000" cy="36000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fld id="{A8FCB472-D4B8-4ECC-94DB-3C259404507A}" type="datetime1">
              <a:rPr lang="en-GB" noProof="0" smtClean="0"/>
              <a:t>21/10/2025</a:t>
            </a:fld>
            <a:endParaRPr lang="en-GB" noProof="0"/>
          </a:p>
        </p:txBody>
      </p:sp>
      <p:pic>
        <p:nvPicPr>
          <p:cNvPr id="7" name="Grafika 6">
            <a:extLst>
              <a:ext uri="{FF2B5EF4-FFF2-40B4-BE49-F238E27FC236}">
                <a16:creationId xmlns:a16="http://schemas.microsoft.com/office/drawing/2014/main" id="{54739D5B-A044-BDB2-D782-9BBDA9F8DB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54342" y="5436814"/>
            <a:ext cx="1658234" cy="908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329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latin typeface="EON Brix Sans Black" panose="020B0A04040000000000" pitchFamily="34" charset="-18"/>
                <a:cs typeface="EON Office Head" pitchFamily="2" charset="0"/>
              </a:defRPr>
            </a:lvl1pPr>
          </a:lstStyle>
          <a:p>
            <a:r>
              <a:rPr lang="en-GB" noProof="0"/>
              <a:t>Title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59D5AD2-71A5-4E3D-49E2-BB3180F015B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79375" y="6050859"/>
            <a:ext cx="5616575" cy="360000"/>
          </a:xfrm>
        </p:spPr>
        <p:txBody>
          <a:bodyPr anchor="b"/>
          <a:lstStyle>
            <a:lvl1pPr algn="l">
              <a:lnSpc>
                <a:spcPct val="10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fld id="{F0EAF0B0-02B5-4EB7-8D8B-804E6D85A9FA}" type="datetime1">
              <a:rPr lang="en-GB" noProof="0" smtClean="0"/>
              <a:t>21/10/2025</a:t>
            </a:fld>
            <a:endParaRPr lang="en-GB" noProof="0"/>
          </a:p>
        </p:txBody>
      </p:sp>
      <p:pic>
        <p:nvPicPr>
          <p:cNvPr id="7" name="Grafika 6">
            <a:extLst>
              <a:ext uri="{FF2B5EF4-FFF2-40B4-BE49-F238E27FC236}">
                <a16:creationId xmlns:a16="http://schemas.microsoft.com/office/drawing/2014/main" id="{1AA8BB03-560D-F209-DC40-FB19223A2F2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54342" y="5436814"/>
            <a:ext cx="1658234" cy="908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99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5546251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6275388" y="0"/>
            <a:ext cx="5916612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E05133-4687-4C40-BEF1-0ADF4C2B33C2}" type="datetime1">
              <a:rPr lang="en-GB" noProof="0" smtClean="0"/>
              <a:t>21/10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Biblioteka slajdów Stoen Opera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9998" y="1807199"/>
            <a:ext cx="4968301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999" y="512763"/>
            <a:ext cx="49683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743700" y="512762"/>
            <a:ext cx="4968300" cy="45142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Insert graph/table</a:t>
            </a:r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3299" y="5598356"/>
            <a:ext cx="4968702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 noProof="0"/>
              <a:t>Unit measure</a:t>
            </a:r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43299" y="5259709"/>
            <a:ext cx="4968702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 noProof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311415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4" orient="horz" pos="3725">
          <p15:clr>
            <a:srgbClr val="FBAE40"/>
          </p15:clr>
        </p15:guide>
        <p15:guide id="5" pos="4248" userDrawn="1">
          <p15:clr>
            <a:srgbClr val="FBAE40"/>
          </p15:clr>
        </p15:guide>
        <p15:guide id="6" pos="343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4928A5DD-42DC-4D0E-AEB3-813D51B7D73D}" type="datetime1">
              <a:rPr lang="en-GB" noProof="0" smtClean="0"/>
              <a:t>21/10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en-GB" noProof="0"/>
              <a:t>Biblioteka slajdów Stoen Opera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65670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C0C298-FBAE-4DAE-8E19-5AE87D001EE7}" type="datetime1">
              <a:rPr lang="en-GB" noProof="0" smtClean="0"/>
              <a:t>21/10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Biblioteka slajdów Stoen Opera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31010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92633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912285" y="1700213"/>
            <a:ext cx="5082116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97600" y="1700213"/>
            <a:ext cx="5082117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650042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1905061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8269522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90683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09310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736589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5" Type="http://schemas.openxmlformats.org/officeDocument/2006/relationships/tags" Target="../tags/tag6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7701053D-79F0-4D80-94F2-4DBF0033FB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55338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2" imgH="342" progId="TCLayout.ActiveDocument.1">
                  <p:embed/>
                </p:oleObj>
              </mc:Choice>
              <mc:Fallback>
                <p:oleObj name="think-cell Slide" r:id="rId14" imgW="342" imgH="342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7701053D-79F0-4D80-94F2-4DBF0033F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3">
            <a:extLst>
              <a:ext uri="{FF2B5EF4-FFF2-40B4-BE49-F238E27FC236}">
                <a16:creationId xmlns:a16="http://schemas.microsoft.com/office/drawing/2014/main" id="{22E365C9-BBBE-46B0-BD35-58A55D56422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912285" y="477838"/>
            <a:ext cx="10367433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Titelmasterformat durch Klicken bearbeiten</a:t>
            </a:r>
          </a:p>
        </p:txBody>
      </p:sp>
      <p:sp>
        <p:nvSpPr>
          <p:cNvPr id="2052" name="Rectangle 4">
            <a:extLst>
              <a:ext uri="{FF2B5EF4-FFF2-40B4-BE49-F238E27FC236}">
                <a16:creationId xmlns:a16="http://schemas.microsoft.com/office/drawing/2014/main" id="{9B92AF11-4DA2-4E56-9144-87E08F41815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gray">
          <a:xfrm>
            <a:off x="912285" y="1700213"/>
            <a:ext cx="10367433" cy="439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Textmasterformate durch Klicken bearbeiten</a:t>
            </a:r>
          </a:p>
          <a:p>
            <a:pPr lvl="1"/>
            <a:r>
              <a:rPr lang="en-US" altLang="en-US"/>
              <a:t>Zweite Ebene</a:t>
            </a:r>
          </a:p>
          <a:p>
            <a:pPr lvl="2"/>
            <a:r>
              <a:rPr lang="en-US" altLang="en-US"/>
              <a:t>Dritte Ebene</a:t>
            </a:r>
          </a:p>
          <a:p>
            <a:pPr lvl="3"/>
            <a:r>
              <a:rPr lang="en-US" altLang="en-US"/>
              <a:t>Vierte Ebene</a:t>
            </a:r>
          </a:p>
          <a:p>
            <a:pPr lvl="4"/>
            <a:r>
              <a:rPr lang="en-US" altLang="en-US"/>
              <a:t>Fünfte Ebene</a:t>
            </a:r>
          </a:p>
        </p:txBody>
      </p:sp>
      <p:sp>
        <p:nvSpPr>
          <p:cNvPr id="2053" name="Rectangle 6">
            <a:extLst>
              <a:ext uri="{FF2B5EF4-FFF2-40B4-BE49-F238E27FC236}">
                <a16:creationId xmlns:a16="http://schemas.microsoft.com/office/drawing/2014/main" id="{E5974E4B-F2DA-475B-927B-AD0B4DF6EB4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79718" y="6308725"/>
            <a:ext cx="768349" cy="28733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l-PL" altLang="en-US" sz="800"/>
              <a:t>Strona</a:t>
            </a:r>
            <a:r>
              <a:rPr lang="en-US" altLang="en-US" sz="800"/>
              <a:t> </a:t>
            </a:r>
            <a:fld id="{4F0B773F-C102-40FF-A8CC-97F6977F41EF}" type="slidenum">
              <a:rPr lang="en-US" altLang="en-US" sz="800" smtClean="0"/>
              <a:pPr eaLnBrk="1" hangingPunct="1">
                <a:defRPr/>
              </a:pPr>
              <a:t>‹#›</a:t>
            </a:fld>
            <a:endParaRPr lang="en-US" altLang="en-US" sz="800"/>
          </a:p>
        </p:txBody>
      </p:sp>
      <p:sp>
        <p:nvSpPr>
          <p:cNvPr id="2054" name="Rectangle 7">
            <a:extLst>
              <a:ext uri="{FF2B5EF4-FFF2-40B4-BE49-F238E27FC236}">
                <a16:creationId xmlns:a16="http://schemas.microsoft.com/office/drawing/2014/main" id="{07676A02-F9A3-4F72-B713-BE4B3AEEA60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3793067" y="6308725"/>
            <a:ext cx="7008284" cy="28733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anose="020B0604020202020204" pitchFamily="34" charset="0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nl-NL" altLang="en-US" sz="800" err="1"/>
              <a:t>Stoen</a:t>
            </a:r>
            <a:r>
              <a:rPr lang="nl-NL" altLang="en-US" sz="800"/>
              <a:t> Operator </a:t>
            </a:r>
            <a:r>
              <a:rPr lang="nl-NL" altLang="en-US" sz="800" err="1"/>
              <a:t>Sp</a:t>
            </a:r>
            <a:r>
              <a:rPr lang="nl-NL" altLang="en-US" sz="800"/>
              <a:t>. </a:t>
            </a:r>
            <a:r>
              <a:rPr lang="nl-NL" altLang="en-US" sz="800" err="1"/>
              <a:t>z</a:t>
            </a:r>
            <a:r>
              <a:rPr lang="nl-NL" altLang="en-US" sz="800"/>
              <a:t> o.o.      </a:t>
            </a: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54F6894F-C761-4902-A22B-6CBDE4D11767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2285" y="6094576"/>
            <a:ext cx="1234228" cy="7288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9pPr>
    </p:titleStyle>
    <p:bodyStyle>
      <a:lvl1pPr marL="266700" indent="-266700" algn="l" rtl="0" eaLnBrk="0" fontAlgn="base" hangingPunct="0">
        <a:spcBef>
          <a:spcPct val="0"/>
        </a:spcBef>
        <a:spcAft>
          <a:spcPct val="100000"/>
        </a:spcAft>
        <a:buClr>
          <a:schemeClr val="accent1"/>
        </a:buClr>
        <a:buFont typeface="Arial" panose="020B0604020202020204" pitchFamily="34" charset="0"/>
        <a:buChar char="&gt;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0225" indent="-261938" algn="l" rtl="0" eaLnBrk="0" fontAlgn="base" hangingPunct="0">
        <a:spcBef>
          <a:spcPct val="0"/>
        </a:spcBef>
        <a:spcAft>
          <a:spcPct val="100000"/>
        </a:spcAft>
        <a:buClr>
          <a:schemeClr val="accent1"/>
        </a:buClr>
        <a:buFont typeface="Arial" panose="020B0604020202020204" pitchFamily="34" charset="0"/>
        <a:buChar char="–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2pPr>
      <a:lvl3pPr marL="806450" indent="-274638" algn="l" rtl="0" eaLnBrk="0" fontAlgn="base" hangingPunct="0">
        <a:spcBef>
          <a:spcPct val="0"/>
        </a:spcBef>
        <a:spcAft>
          <a:spcPct val="100000"/>
        </a:spcAft>
        <a:buClr>
          <a:schemeClr val="accent1"/>
        </a:buClr>
        <a:buFont typeface="Arial" panose="020B0604020202020204" pitchFamily="34" charset="0"/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3pPr>
      <a:lvl4pPr marL="1073150" indent="-265113" algn="l" rtl="0" eaLnBrk="0" fontAlgn="base" hangingPunct="0">
        <a:spcBef>
          <a:spcPct val="0"/>
        </a:spcBef>
        <a:spcAft>
          <a:spcPct val="100000"/>
        </a:spcAft>
        <a:buClr>
          <a:schemeClr val="accent1"/>
        </a:buClr>
        <a:buFont typeface="Arial" panose="020B0604020202020204" pitchFamily="34" charset="0"/>
        <a:buChar char="–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4pPr>
      <a:lvl5pPr marL="1339850" indent="-265113" algn="l" rtl="0" eaLnBrk="0" fontAlgn="base" hangingPunct="0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5pPr>
      <a:lvl6pPr marL="17970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6pPr>
      <a:lvl7pPr marL="22542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7pPr>
      <a:lvl8pPr marL="27114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8pPr>
      <a:lvl9pPr marL="31686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635FA2F-196F-B7E9-F8E7-BA2662EB25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noProof="0"/>
              <a:t>Headi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1CCA2-64AC-011A-6E48-D7BAE381437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80000" y="1808163"/>
            <a:ext cx="11232000" cy="41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  <a:p>
            <a:pPr lvl="5"/>
            <a:r>
              <a:rPr lang="en-GB" noProof="0"/>
              <a:t>Text</a:t>
            </a:r>
          </a:p>
          <a:p>
            <a:pPr lvl="6"/>
            <a:r>
              <a:rPr lang="en-GB" noProof="0"/>
              <a:t>Text</a:t>
            </a:r>
          </a:p>
          <a:p>
            <a:pPr lvl="7"/>
            <a:r>
              <a:rPr lang="en-GB" noProof="0"/>
              <a:t>Text</a:t>
            </a:r>
          </a:p>
          <a:p>
            <a:pPr lvl="8"/>
            <a:r>
              <a:rPr lang="en-GB" noProof="0"/>
              <a:t>Tex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303A87-3372-7C52-3A6E-92D7BAAC45F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983998" y="6526212"/>
            <a:ext cx="1188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fld id="{370971A6-8427-41EB-B293-3B0E73D3B021}" type="datetime1">
              <a:rPr lang="en-GB" noProof="0" smtClean="0"/>
              <a:t>21/10/2025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57ADF3-BF8D-274D-175D-117F148AB0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80000" y="6526212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Szablon PowerPoint Stoen Operato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28E599-8D88-7F1F-581D-9EE50A461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empower - DO NOT DELETE!!!" hidden="1">
            <a:extLst>
              <a:ext uri="{FF2B5EF4-FFF2-40B4-BE49-F238E27FC236}">
                <a16:creationId xmlns:a16="http://schemas.microsoft.com/office/drawing/2014/main" id="{CD89FD70-3824-0C4D-517B-1E78167FED4E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2042808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93" r:id="rId2"/>
    <p:sldLayoutId id="2147483677" r:id="rId3"/>
    <p:sldLayoutId id="2147483665" r:id="rId4"/>
    <p:sldLayoutId id="2147483662" r:id="rId5"/>
    <p:sldLayoutId id="2147483723" r:id="rId6"/>
    <p:sldLayoutId id="2147483725" r:id="rId7"/>
    <p:sldLayoutId id="2147483724" r:id="rId8"/>
  </p:sldLayoutIdLst>
  <p:hf hdr="0" dt="0"/>
  <p:txStyles>
    <p:titleStyle>
      <a:lvl1pPr algn="l" defTabSz="5400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3017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5240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7335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635FA2F-196F-B7E9-F8E7-BA2662EB25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noProof="0"/>
              <a:t>Headi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1CCA2-64AC-011A-6E48-D7BAE381437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80000" y="1808163"/>
            <a:ext cx="11232000" cy="41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  <a:p>
            <a:pPr lvl="5"/>
            <a:r>
              <a:rPr lang="en-GB" noProof="0"/>
              <a:t>Text</a:t>
            </a:r>
          </a:p>
          <a:p>
            <a:pPr lvl="6"/>
            <a:r>
              <a:rPr lang="en-GB" noProof="0"/>
              <a:t>Text</a:t>
            </a:r>
          </a:p>
          <a:p>
            <a:pPr lvl="7"/>
            <a:r>
              <a:rPr lang="en-GB" noProof="0"/>
              <a:t>Text</a:t>
            </a:r>
          </a:p>
          <a:p>
            <a:pPr lvl="8"/>
            <a:r>
              <a:rPr lang="en-GB" noProof="0"/>
              <a:t>Tex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303A87-3372-7C52-3A6E-92D7BAAC45F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983998" y="6526212"/>
            <a:ext cx="1188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fld id="{4393401D-D691-4BEC-8482-69325F1D289C}" type="datetime1">
              <a:rPr lang="en-GB" noProof="0" smtClean="0"/>
              <a:t>21/10/2025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57ADF3-BF8D-274D-175D-117F148AB0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80000" y="6526212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Biblioteka slajdów Stoen Operato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28E599-8D88-7F1F-581D-9EE50A461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empower - DO NOT DELETE!!!" hidden="1">
            <a:extLst>
              <a:ext uri="{FF2B5EF4-FFF2-40B4-BE49-F238E27FC236}">
                <a16:creationId xmlns:a16="http://schemas.microsoft.com/office/drawing/2014/main" id="{CD89FD70-3824-0C4D-517B-1E78167FED4E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2042808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70" r:id="rId2"/>
    <p:sldLayoutId id="2147483659" r:id="rId3"/>
  </p:sldLayoutIdLst>
  <p:hf hdr="0" dt="0"/>
  <p:txStyles>
    <p:titleStyle>
      <a:lvl1pPr algn="l" defTabSz="5400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3017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5240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7335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4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39.jpe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38.jpg"/><Relationship Id="rId4" Type="http://schemas.openxmlformats.org/officeDocument/2006/relationships/diagramLayout" Target="../diagrams/layout1.xml"/><Relationship Id="rId9" Type="http://schemas.openxmlformats.org/officeDocument/2006/relationships/image" Target="../media/image37.HEIC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Relationship Id="rId9" Type="http://schemas.openxmlformats.org/officeDocument/2006/relationships/image" Target="../media/image21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3738E7-B925-934C-8E25-969ECF3B4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EB8F6369-C54F-4223-7B43-5689B18BC6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2245659"/>
            <a:ext cx="5616575" cy="105634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l-PL" sz="3200" dirty="0"/>
              <a:t>październik 2025</a:t>
            </a:r>
            <a:endParaRPr lang="pl-PL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EDBF272-0708-DC72-5571-D78BF048BC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512763"/>
            <a:ext cx="12797664" cy="1732896"/>
          </a:xfrm>
        </p:spPr>
        <p:txBody>
          <a:bodyPr/>
          <a:lstStyle/>
          <a:p>
            <a:r>
              <a:rPr lang="pl-PL" sz="5000" noProof="1">
                <a:latin typeface="EON Brix Sans Black"/>
              </a:rPr>
              <a:t>Komunikacja projektów strategicznych.</a:t>
            </a:r>
            <a:br>
              <a:rPr lang="pl-PL" sz="5000" noProof="1">
                <a:latin typeface="EON Brix Sans Black"/>
              </a:rPr>
            </a:br>
            <a:r>
              <a:rPr lang="pl-PL" sz="5000" noProof="1">
                <a:latin typeface="EON Brix Sans Black"/>
              </a:rPr>
              <a:t>Specustawa</a:t>
            </a:r>
            <a:endParaRPr lang="pl-PL" sz="5000" noProof="1"/>
          </a:p>
        </p:txBody>
      </p:sp>
    </p:spTree>
    <p:extLst>
      <p:ext uri="{BB962C8B-B14F-4D97-AF65-F5344CB8AC3E}">
        <p14:creationId xmlns:p14="http://schemas.microsoft.com/office/powerpoint/2010/main" val="17827820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95C34C-A677-57AF-5D10-B8AC7D85FC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27EF43-F351-D7A7-2408-D779E9B039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Biblioteka slajdów Stoen Operato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967DEE-CCD3-9052-4C0D-08F8680C7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10</a:t>
            </a:fld>
            <a:endParaRPr lang="en-GB" noProof="0"/>
          </a:p>
        </p:txBody>
      </p:sp>
      <p:sp>
        <p:nvSpPr>
          <p:cNvPr id="11" name="Titel 3">
            <a:extLst>
              <a:ext uri="{FF2B5EF4-FFF2-40B4-BE49-F238E27FC236}">
                <a16:creationId xmlns:a16="http://schemas.microsoft.com/office/drawing/2014/main" id="{0F0F34A8-F6CD-3E75-F884-1AE22CCB947C}"/>
              </a:ext>
            </a:extLst>
          </p:cNvPr>
          <p:cNvSpPr>
            <a:spLocks noGrp="1"/>
          </p:cNvSpPr>
          <p:nvPr/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noProof="1">
                <a:solidFill>
                  <a:schemeClr val="accent1"/>
                </a:solidFill>
              </a:rPr>
              <a:t>Rozwój sieci dystrybucyjnej w planach Stoen Operator</a:t>
            </a:r>
            <a:endParaRPr lang="en-US">
              <a:solidFill>
                <a:schemeClr val="accent1"/>
              </a:solidFill>
            </a:endParaRPr>
          </a:p>
          <a:p>
            <a:endParaRPr lang="pl-PL" noProof="1">
              <a:solidFill>
                <a:schemeClr val="accent1"/>
              </a:solidFill>
            </a:endParaRPr>
          </a:p>
        </p:txBody>
      </p:sp>
      <p:sp>
        <p:nvSpPr>
          <p:cNvPr id="5" name="Symbol zastępczy stopki 1">
            <a:extLst>
              <a:ext uri="{FF2B5EF4-FFF2-40B4-BE49-F238E27FC236}">
                <a16:creationId xmlns:a16="http://schemas.microsoft.com/office/drawing/2014/main" id="{69EC7402-351A-7412-01CC-7FD935A1C28B}"/>
              </a:ext>
            </a:extLst>
          </p:cNvPr>
          <p:cNvSpPr txBox="1">
            <a:spLocks/>
          </p:cNvSpPr>
          <p:nvPr/>
        </p:nvSpPr>
        <p:spPr bwMode="gray">
          <a:xfrm>
            <a:off x="561062" y="6573705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ED27B6A2-2CE2-4BB0-91CA-1B192073B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010493"/>
            <a:ext cx="10574226" cy="5334744"/>
          </a:xfrm>
          <a:prstGeom prst="rect">
            <a:avLst/>
          </a:prstGeom>
        </p:spPr>
      </p:pic>
      <p:sp>
        <p:nvSpPr>
          <p:cNvPr id="10" name="Prostokąt 9">
            <a:extLst>
              <a:ext uri="{FF2B5EF4-FFF2-40B4-BE49-F238E27FC236}">
                <a16:creationId xmlns:a16="http://schemas.microsoft.com/office/drawing/2014/main" id="{8F5A942B-4F8F-5C9E-E7D1-1985F6EDE6D1}"/>
              </a:ext>
            </a:extLst>
          </p:cNvPr>
          <p:cNvSpPr/>
          <p:nvPr/>
        </p:nvSpPr>
        <p:spPr>
          <a:xfrm>
            <a:off x="479425" y="1010492"/>
            <a:ext cx="7815349" cy="1742331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pl-PL" sz="1400" dirty="0"/>
          </a:p>
        </p:txBody>
      </p:sp>
      <p:sp>
        <p:nvSpPr>
          <p:cNvPr id="12" name="Prostokąt 11">
            <a:extLst>
              <a:ext uri="{FF2B5EF4-FFF2-40B4-BE49-F238E27FC236}">
                <a16:creationId xmlns:a16="http://schemas.microsoft.com/office/drawing/2014/main" id="{3E700A83-44DB-55B7-8D14-65120227C94F}"/>
              </a:ext>
            </a:extLst>
          </p:cNvPr>
          <p:cNvSpPr/>
          <p:nvPr/>
        </p:nvSpPr>
        <p:spPr>
          <a:xfrm>
            <a:off x="8306601" y="1025726"/>
            <a:ext cx="2916455" cy="531951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23590737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41708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FB177A4-88B3-BF8B-2D7A-00641778AE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8102C51-422A-ED01-B238-49BF87F7CA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512762"/>
            <a:ext cx="10201275" cy="1732896"/>
          </a:xfrm>
        </p:spPr>
        <p:txBody>
          <a:bodyPr/>
          <a:lstStyle/>
          <a:p>
            <a:r>
              <a:rPr lang="pl-PL" sz="6000" noProof="1">
                <a:latin typeface="EON Brix Sans Black"/>
              </a:rPr>
              <a:t>Jak?</a:t>
            </a:r>
            <a:endParaRPr lang="en-GB" sz="3600" noProof="1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3B6DD0E-67AC-B6B8-D4DE-FB829B4CD6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294967295"/>
          </p:nvPr>
        </p:nvSpPr>
        <p:spPr>
          <a:xfrm>
            <a:off x="9732963" y="5765800"/>
            <a:ext cx="1979612" cy="579438"/>
          </a:xfrm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0FE51560-3E1C-EE7E-CC7F-1F6BF1E80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Szablon PowerPoint Stoen Operator</a:t>
            </a:r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8F488B1E-770D-79CE-F1E2-FE7A27B6A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11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261644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EF51E-7C5B-FFC3-6F88-BFE030FE2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Biblioteka slajdów Stoen Operato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D830FF-0B1B-6984-06EC-7CE0324B8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12</a:t>
            </a:fld>
            <a:endParaRPr lang="en-GB" noProof="0"/>
          </a:p>
        </p:txBody>
      </p:sp>
      <p:sp>
        <p:nvSpPr>
          <p:cNvPr id="4" name="Rectangle 34">
            <a:extLst>
              <a:ext uri="{FF2B5EF4-FFF2-40B4-BE49-F238E27FC236}">
                <a16:creationId xmlns:a16="http://schemas.microsoft.com/office/drawing/2014/main" id="{314C8970-FFC4-5F18-D34B-5C4E0FCC123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000" y="1808163"/>
            <a:ext cx="1944028" cy="868366"/>
          </a:xfrm>
          <a:prstGeom prst="roundRect">
            <a:avLst>
              <a:gd name="adj" fmla="val 0"/>
            </a:avLst>
          </a:prstGeom>
          <a:solidFill>
            <a:srgbClr val="C41708"/>
          </a:solidFill>
          <a:ln w="9525">
            <a:noFill/>
            <a:miter lim="800000"/>
            <a:headEnd/>
            <a:tailEnd/>
          </a:ln>
          <a:effectLst/>
        </p:spPr>
        <p:txBody>
          <a:bodyPr lIns="72000" tIns="72000" rIns="72000" bIns="7200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400" b="1">
                <a:solidFill>
                  <a:schemeClr val="bg1"/>
                </a:solidFill>
                <a:latin typeface="EON Brix Sans" panose="020B0504040000000000" pitchFamily="34" charset="77"/>
              </a:rPr>
              <a:t>1</a:t>
            </a:r>
          </a:p>
        </p:txBody>
      </p:sp>
      <p:sp>
        <p:nvSpPr>
          <p:cNvPr id="5" name="Rectangle 34">
            <a:extLst>
              <a:ext uri="{FF2B5EF4-FFF2-40B4-BE49-F238E27FC236}">
                <a16:creationId xmlns:a16="http://schemas.microsoft.com/office/drawing/2014/main" id="{D396544A-6658-CF9E-8DC7-CB2D4AEBC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77086" y="1808163"/>
            <a:ext cx="9134914" cy="868366"/>
          </a:xfrm>
          <a:prstGeom prst="roundRect">
            <a:avLst>
              <a:gd name="adj" fmla="val 0"/>
            </a:avLst>
          </a:prstGeom>
          <a:solidFill>
            <a:srgbClr val="F8F5F2"/>
          </a:solidFill>
          <a:ln w="9525">
            <a:noFill/>
            <a:miter lim="800000"/>
            <a:headEnd/>
            <a:tailEnd/>
          </a:ln>
          <a:effectLst/>
        </p:spPr>
        <p:txBody>
          <a:bodyPr lIns="144000" tIns="72000" rIns="72000" bIns="7200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noProof="1"/>
              <a:t>Pełna nazwa:</a:t>
            </a:r>
          </a:p>
          <a:p>
            <a:r>
              <a:rPr lang="de-DE" sz="1400" noProof="1"/>
              <a:t>Ustawa z dnia 24 lipca 2015 r. o przygotowaniu i realizacji strategicznych inwestycji </a:t>
            </a:r>
          </a:p>
          <a:p>
            <a:r>
              <a:rPr lang="de-DE" sz="1400" noProof="1"/>
              <a:t>w zakresie sieci przesyłowych (Dz.U. 2015 poz. 1265) </a:t>
            </a:r>
          </a:p>
        </p:txBody>
      </p:sp>
      <p:sp>
        <p:nvSpPr>
          <p:cNvPr id="6" name="Rectangle 34">
            <a:extLst>
              <a:ext uri="{FF2B5EF4-FFF2-40B4-BE49-F238E27FC236}">
                <a16:creationId xmlns:a16="http://schemas.microsoft.com/office/drawing/2014/main" id="{AC449D97-1384-A1A8-BCB3-5079FED1709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000" y="2886707"/>
            <a:ext cx="1944028" cy="868366"/>
          </a:xfrm>
          <a:prstGeom prst="roundRect">
            <a:avLst>
              <a:gd name="adj" fmla="val 0"/>
            </a:avLst>
          </a:prstGeom>
          <a:solidFill>
            <a:srgbClr val="C41708"/>
          </a:solidFill>
          <a:ln w="9525">
            <a:noFill/>
            <a:miter lim="800000"/>
            <a:headEnd/>
            <a:tailEnd/>
          </a:ln>
          <a:effectLst/>
        </p:spPr>
        <p:txBody>
          <a:bodyPr lIns="72000" tIns="72000" rIns="72000" bIns="7200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400" b="1">
                <a:solidFill>
                  <a:schemeClr val="bg1"/>
                </a:solidFill>
                <a:latin typeface="EON Brix Sans" panose="020B0504040000000000" pitchFamily="34" charset="77"/>
              </a:rPr>
              <a:t>2</a:t>
            </a:r>
          </a:p>
        </p:txBody>
      </p:sp>
      <p:sp>
        <p:nvSpPr>
          <p:cNvPr id="7" name="Rectangle 34">
            <a:extLst>
              <a:ext uri="{FF2B5EF4-FFF2-40B4-BE49-F238E27FC236}">
                <a16:creationId xmlns:a16="http://schemas.microsoft.com/office/drawing/2014/main" id="{93E6F437-8E80-A957-3005-25E0934A4B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77086" y="2886707"/>
            <a:ext cx="9134914" cy="868366"/>
          </a:xfrm>
          <a:prstGeom prst="roundRect">
            <a:avLst>
              <a:gd name="adj" fmla="val 0"/>
            </a:avLst>
          </a:prstGeom>
          <a:solidFill>
            <a:srgbClr val="F8F5F2"/>
          </a:solidFill>
          <a:ln w="9525">
            <a:noFill/>
            <a:miter lim="800000"/>
            <a:headEnd/>
            <a:tailEnd/>
          </a:ln>
          <a:effectLst/>
        </p:spPr>
        <p:txBody>
          <a:bodyPr lIns="144000" tIns="72000" rIns="72000" bIns="7200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noProof="1">
                <a:cs typeface="EON Brix Sans" panose="020B0604020202020204" pitchFamily="34" charset="0"/>
              </a:rPr>
              <a:t>Nowelizacja, na której bazujemy:</a:t>
            </a:r>
          </a:p>
          <a:p>
            <a:r>
              <a:rPr lang="de-DE" sz="1400" noProof="1">
                <a:cs typeface="EON Brix Sans" panose="020B0604020202020204" pitchFamily="34" charset="0"/>
              </a:rPr>
              <a:t>Ustawa z dnia 7 lipca 2023 r. o zmianie ustawy o przygotowaniu i realizacji strategicznych inwestycji w zakresie sieci przesyłowych oraz niektórych innych ustaw</a:t>
            </a:r>
            <a:endParaRPr lang="en-US" sz="1400" noProof="1"/>
          </a:p>
        </p:txBody>
      </p:sp>
      <p:sp>
        <p:nvSpPr>
          <p:cNvPr id="8" name="Rectangle 34">
            <a:extLst>
              <a:ext uri="{FF2B5EF4-FFF2-40B4-BE49-F238E27FC236}">
                <a16:creationId xmlns:a16="http://schemas.microsoft.com/office/drawing/2014/main" id="{3671939F-E56A-76D7-3F18-E9A4CB3DCDF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000" y="3965252"/>
            <a:ext cx="1944028" cy="868366"/>
          </a:xfrm>
          <a:prstGeom prst="roundRect">
            <a:avLst>
              <a:gd name="adj" fmla="val 0"/>
            </a:avLst>
          </a:prstGeom>
          <a:solidFill>
            <a:srgbClr val="C41708"/>
          </a:solidFill>
          <a:ln w="9525">
            <a:noFill/>
            <a:miter lim="800000"/>
            <a:headEnd/>
            <a:tailEnd/>
          </a:ln>
          <a:effectLst/>
        </p:spPr>
        <p:txBody>
          <a:bodyPr lIns="72000" tIns="72000" rIns="72000" bIns="7200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400" b="1">
                <a:solidFill>
                  <a:schemeClr val="bg1"/>
                </a:solidFill>
                <a:latin typeface="EON Brix Sans" panose="020B0504040000000000" pitchFamily="34" charset="77"/>
              </a:rPr>
              <a:t>3</a:t>
            </a:r>
          </a:p>
        </p:txBody>
      </p:sp>
      <p:sp>
        <p:nvSpPr>
          <p:cNvPr id="9" name="Rectangle 34">
            <a:extLst>
              <a:ext uri="{FF2B5EF4-FFF2-40B4-BE49-F238E27FC236}">
                <a16:creationId xmlns:a16="http://schemas.microsoft.com/office/drawing/2014/main" id="{BB1C0FC1-4B59-112D-3924-C0D0382E169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77086" y="3965252"/>
            <a:ext cx="9134914" cy="868366"/>
          </a:xfrm>
          <a:prstGeom prst="roundRect">
            <a:avLst>
              <a:gd name="adj" fmla="val 0"/>
            </a:avLst>
          </a:prstGeom>
          <a:solidFill>
            <a:srgbClr val="F8F5F2"/>
          </a:solidFill>
          <a:ln w="9525">
            <a:noFill/>
            <a:miter lim="800000"/>
            <a:headEnd/>
            <a:tailEnd/>
          </a:ln>
          <a:effectLst/>
        </p:spPr>
        <p:txBody>
          <a:bodyPr lIns="144000" tIns="72000" rIns="0" bIns="7200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noProof="1">
                <a:cs typeface="EON Brix Sans" panose="020B0604020202020204" pitchFamily="34" charset="0"/>
              </a:rPr>
              <a:t>Wykaz strategicznych inwestycji w zakresie sieci przesyłowych oraz inwestycji towarzyszących, </a:t>
            </a:r>
          </a:p>
          <a:p>
            <a:r>
              <a:rPr lang="de-DE" sz="1400" noProof="1">
                <a:cs typeface="EON Brix Sans" panose="020B0604020202020204" pitchFamily="34" charset="0"/>
              </a:rPr>
              <a:t>z wyłączeniem inwestycji towarzyszących polegających na przebudowie lub remoncie istniejących linii elektroenergetycznych stanowiących elementy sieci dystrybucyjnej o napięciu równym lub wyższym niż 110kV, tzw. Wykaz inwestycji towarzyszących</a:t>
            </a:r>
            <a:endParaRPr lang="en-US" sz="1400" noProof="1"/>
          </a:p>
        </p:txBody>
      </p:sp>
      <p:sp>
        <p:nvSpPr>
          <p:cNvPr id="10" name="Rectangle 34">
            <a:extLst>
              <a:ext uri="{FF2B5EF4-FFF2-40B4-BE49-F238E27FC236}">
                <a16:creationId xmlns:a16="http://schemas.microsoft.com/office/drawing/2014/main" id="{AC39BC63-91D5-B910-BEA6-6D4E85FD72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000" y="5043796"/>
            <a:ext cx="1944028" cy="949048"/>
          </a:xfrm>
          <a:prstGeom prst="roundRect">
            <a:avLst>
              <a:gd name="adj" fmla="val 0"/>
            </a:avLst>
          </a:prstGeom>
          <a:solidFill>
            <a:srgbClr val="C41708"/>
          </a:solidFill>
          <a:ln w="9525">
            <a:noFill/>
            <a:miter lim="800000"/>
            <a:headEnd/>
            <a:tailEnd/>
          </a:ln>
          <a:effectLst/>
        </p:spPr>
        <p:txBody>
          <a:bodyPr lIns="72000" tIns="72000" rIns="72000" bIns="7200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400" b="1">
                <a:solidFill>
                  <a:schemeClr val="bg1"/>
                </a:solidFill>
                <a:latin typeface="EON Brix Sans" panose="020B0504040000000000" pitchFamily="34" charset="77"/>
              </a:rPr>
              <a:t>4</a:t>
            </a:r>
          </a:p>
        </p:txBody>
      </p:sp>
      <p:sp>
        <p:nvSpPr>
          <p:cNvPr id="11" name="Rectangle 34">
            <a:extLst>
              <a:ext uri="{FF2B5EF4-FFF2-40B4-BE49-F238E27FC236}">
                <a16:creationId xmlns:a16="http://schemas.microsoft.com/office/drawing/2014/main" id="{4E15A28B-A3C4-178D-9F63-5C48869BECFB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77086" y="5043796"/>
            <a:ext cx="9125950" cy="949048"/>
          </a:xfrm>
          <a:prstGeom prst="roundRect">
            <a:avLst>
              <a:gd name="adj" fmla="val 0"/>
            </a:avLst>
          </a:prstGeom>
          <a:solidFill>
            <a:srgbClr val="F8F5F2"/>
          </a:solidFill>
          <a:ln w="9525">
            <a:noFill/>
            <a:miter lim="800000"/>
            <a:headEnd/>
            <a:tailEnd/>
          </a:ln>
          <a:effectLst/>
        </p:spPr>
        <p:txBody>
          <a:bodyPr lIns="144000" tIns="72000" rIns="0" bIns="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noProof="1">
                <a:cs typeface="EON Brix Sans" panose="020B0604020202020204" pitchFamily="34" charset="0"/>
              </a:rPr>
              <a:t>Rozporządzenie Rady Ministrów z dnia 21 listopada 2023 r. w sprawie wykazu inwestycji towarzyszących polegających na przebudowie istniejących linii elektroenergetycznych stanowiących elementy sieci dystrybucyjnej o napięciu równym lub wyższym niż 110kV, </a:t>
            </a:r>
          </a:p>
          <a:p>
            <a:r>
              <a:rPr lang="de-DE" sz="1400" noProof="1">
                <a:cs typeface="EON Brix Sans" panose="020B0604020202020204" pitchFamily="34" charset="0"/>
              </a:rPr>
              <a:t>tzw. Rozporządzenie modernizacyjne</a:t>
            </a:r>
            <a:endParaRPr lang="en-US" sz="1400" noProof="1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2AA7B4E9-A36A-040D-F893-AEF3EE7FED7F}"/>
              </a:ext>
            </a:extLst>
          </p:cNvPr>
          <p:cNvSpPr>
            <a:spLocks noGrp="1"/>
          </p:cNvSpPr>
          <p:nvPr/>
        </p:nvSpPr>
        <p:spPr bwMode="gray">
          <a:xfrm>
            <a:off x="480000" y="512763"/>
            <a:ext cx="11232000" cy="8863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ts val="3333"/>
              </a:lnSpc>
            </a:pPr>
            <a:r>
              <a:rPr lang="pl-PL">
                <a:solidFill>
                  <a:srgbClr val="EA1C0A"/>
                </a:solidFill>
                <a:latin typeface="EON Brix Sans" panose="020B0604020202020204"/>
              </a:rPr>
              <a:t>Narzędzie: Specustawa Przesyłowa</a:t>
            </a:r>
            <a:endParaRPr lang="de-DE">
              <a:solidFill>
                <a:srgbClr val="1A1A1A"/>
              </a:solidFill>
              <a:latin typeface="EON Brix Sans" panose="020B0604020202020204"/>
            </a:endParaRPr>
          </a:p>
          <a:p>
            <a:pPr>
              <a:lnSpc>
                <a:spcPts val="3333"/>
              </a:lnSpc>
            </a:pPr>
            <a:r>
              <a:rPr lang="pl-PL" sz="2400">
                <a:solidFill>
                  <a:srgbClr val="EA1C0A"/>
                </a:solidFill>
                <a:latin typeface="EON Brix Sans" panose="020B0604020202020204"/>
              </a:rPr>
              <a:t>podstawy prawne</a:t>
            </a:r>
            <a:endParaRPr lang="de-DE" sz="2400">
              <a:solidFill>
                <a:srgbClr val="1A1A1A"/>
              </a:solidFill>
              <a:latin typeface="EON Brix Sans" panose="020B0604020202020204"/>
            </a:endParaRPr>
          </a:p>
          <a:p>
            <a:endParaRPr lang="pl-PL">
              <a:solidFill>
                <a:srgbClr val="EA1B0A"/>
              </a:solidFill>
              <a:latin typeface="EON Brix Sans" panose="020B0604020202020204"/>
            </a:endParaRPr>
          </a:p>
        </p:txBody>
      </p:sp>
      <p:sp>
        <p:nvSpPr>
          <p:cNvPr id="14" name="Symbol zastępczy stopki 1">
            <a:extLst>
              <a:ext uri="{FF2B5EF4-FFF2-40B4-BE49-F238E27FC236}">
                <a16:creationId xmlns:a16="http://schemas.microsoft.com/office/drawing/2014/main" id="{A1EDE95D-1325-E1C9-470E-1002E531A3DC}"/>
              </a:ext>
            </a:extLst>
          </p:cNvPr>
          <p:cNvSpPr txBox="1">
            <a:spLocks/>
          </p:cNvSpPr>
          <p:nvPr/>
        </p:nvSpPr>
        <p:spPr bwMode="gray">
          <a:xfrm>
            <a:off x="606782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90264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87E581-402D-826B-9511-174C31311F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Szablon PowerPoint Stoen Operato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EDDF67-2A29-0244-7DB4-19721AA50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13</a:t>
            </a:fld>
            <a:endParaRPr lang="en-GB" noProof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1B89F8-0C26-7F27-CC25-5EF07E79998B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7826400" cy="6859763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240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BC4B73D-7CD7-A8D0-AD04-20582E04A6C3}"/>
              </a:ext>
            </a:extLst>
          </p:cNvPr>
          <p:cNvSpPr/>
          <p:nvPr/>
        </p:nvSpPr>
        <p:spPr bwMode="gray">
          <a:xfrm>
            <a:off x="2585473" y="2139231"/>
            <a:ext cx="2675540" cy="2675540"/>
          </a:xfrm>
          <a:prstGeom prst="ellipse">
            <a:avLst/>
          </a:prstGeom>
          <a:solidFill>
            <a:srgbClr val="C41708"/>
          </a:solidFill>
          <a:ln w="9525" cap="flat" cmpd="sng">
            <a:noFill/>
            <a:prstDash val="solid"/>
            <a:round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2400" b="1">
                <a:solidFill>
                  <a:schemeClr val="bg1"/>
                </a:solidFill>
              </a:rPr>
              <a:t>Tekst</a:t>
            </a:r>
            <a:endParaRPr lang="de-DE" sz="2400" b="1">
              <a:solidFill>
                <a:schemeClr val="bg1"/>
              </a:solidFill>
            </a:endParaRPr>
          </a:p>
        </p:txBody>
      </p:sp>
      <p:pic>
        <p:nvPicPr>
          <p:cNvPr id="17" name="Graphic 14">
            <a:extLst>
              <a:ext uri="{FF2B5EF4-FFF2-40B4-BE49-F238E27FC236}">
                <a16:creationId xmlns:a16="http://schemas.microsoft.com/office/drawing/2014/main" id="{A6A27212-C9EF-6EE2-8001-0EAD40001C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 rot="5400000">
            <a:off x="3779849" y="1558699"/>
            <a:ext cx="304800" cy="304800"/>
          </a:xfrm>
          <a:prstGeom prst="rect">
            <a:avLst/>
          </a:prstGeom>
        </p:spPr>
      </p:pic>
      <p:pic>
        <p:nvPicPr>
          <p:cNvPr id="18" name="Graphic 15">
            <a:extLst>
              <a:ext uri="{FF2B5EF4-FFF2-40B4-BE49-F238E27FC236}">
                <a16:creationId xmlns:a16="http://schemas.microsoft.com/office/drawing/2014/main" id="{31959071-9DCD-0F57-C5F6-D1E1AF47EE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 rot="9000000">
            <a:off x="5423212" y="2762153"/>
            <a:ext cx="304800" cy="304800"/>
          </a:xfrm>
          <a:prstGeom prst="rect">
            <a:avLst/>
          </a:prstGeom>
        </p:spPr>
      </p:pic>
      <p:pic>
        <p:nvPicPr>
          <p:cNvPr id="19" name="Graphic 16">
            <a:extLst>
              <a:ext uri="{FF2B5EF4-FFF2-40B4-BE49-F238E27FC236}">
                <a16:creationId xmlns:a16="http://schemas.microsoft.com/office/drawing/2014/main" id="{F9C1C3FF-9533-CD34-9770-2BEE16975B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 rot="1800000">
            <a:off x="2127489" y="2761080"/>
            <a:ext cx="304800" cy="304800"/>
          </a:xfrm>
          <a:prstGeom prst="rect">
            <a:avLst/>
          </a:prstGeom>
        </p:spPr>
      </p:pic>
      <p:pic>
        <p:nvPicPr>
          <p:cNvPr id="20" name="Graphic 17">
            <a:extLst>
              <a:ext uri="{FF2B5EF4-FFF2-40B4-BE49-F238E27FC236}">
                <a16:creationId xmlns:a16="http://schemas.microsoft.com/office/drawing/2014/main" id="{64D72101-ACF1-F708-C663-9043A53B2C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 rot="18900000">
            <a:off x="2754333" y="4718367"/>
            <a:ext cx="304800" cy="304800"/>
          </a:xfrm>
          <a:prstGeom prst="rect">
            <a:avLst/>
          </a:prstGeom>
        </p:spPr>
      </p:pic>
      <p:pic>
        <p:nvPicPr>
          <p:cNvPr id="21" name="Graphic 18">
            <a:extLst>
              <a:ext uri="{FF2B5EF4-FFF2-40B4-BE49-F238E27FC236}">
                <a16:creationId xmlns:a16="http://schemas.microsoft.com/office/drawing/2014/main" id="{1D0162E6-A1C5-C061-4271-E964D608AC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 rot="13500000">
            <a:off x="4806575" y="4728927"/>
            <a:ext cx="304800" cy="304800"/>
          </a:xfrm>
          <a:prstGeom prst="rect">
            <a:avLst/>
          </a:prstGeom>
        </p:spPr>
      </p:pic>
      <p:sp>
        <p:nvSpPr>
          <p:cNvPr id="22" name="Textfeld 4">
            <a:extLst>
              <a:ext uri="{FF2B5EF4-FFF2-40B4-BE49-F238E27FC236}">
                <a16:creationId xmlns:a16="http://schemas.microsoft.com/office/drawing/2014/main" id="{BD4F205C-2935-7E05-201C-6044BBE315F6}"/>
              </a:ext>
            </a:extLst>
          </p:cNvPr>
          <p:cNvSpPr txBox="1"/>
          <p:nvPr/>
        </p:nvSpPr>
        <p:spPr>
          <a:xfrm>
            <a:off x="8341234" y="512763"/>
            <a:ext cx="3858505" cy="9506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800" dirty="0"/>
              <a:t>Główne zmiany i korzyści</a:t>
            </a:r>
          </a:p>
        </p:txBody>
      </p:sp>
      <p:sp>
        <p:nvSpPr>
          <p:cNvPr id="25" name="Textfeld 25">
            <a:extLst>
              <a:ext uri="{FF2B5EF4-FFF2-40B4-BE49-F238E27FC236}">
                <a16:creationId xmlns:a16="http://schemas.microsoft.com/office/drawing/2014/main" id="{C3A4667C-76CA-0848-4431-2214ECB67F49}"/>
              </a:ext>
            </a:extLst>
          </p:cNvPr>
          <p:cNvSpPr txBox="1"/>
          <p:nvPr/>
        </p:nvSpPr>
        <p:spPr>
          <a:xfrm>
            <a:off x="5851493" y="2671493"/>
            <a:ext cx="1216615" cy="3026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26" name="Textfeld 26">
            <a:extLst>
              <a:ext uri="{FF2B5EF4-FFF2-40B4-BE49-F238E27FC236}">
                <a16:creationId xmlns:a16="http://schemas.microsoft.com/office/drawing/2014/main" id="{0452CE4D-6D18-E6A5-D146-CF4CD48A9FED}"/>
              </a:ext>
            </a:extLst>
          </p:cNvPr>
          <p:cNvSpPr txBox="1"/>
          <p:nvPr/>
        </p:nvSpPr>
        <p:spPr>
          <a:xfrm>
            <a:off x="5173084" y="4981272"/>
            <a:ext cx="1216615" cy="3026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27" name="Textfeld 27">
            <a:extLst>
              <a:ext uri="{FF2B5EF4-FFF2-40B4-BE49-F238E27FC236}">
                <a16:creationId xmlns:a16="http://schemas.microsoft.com/office/drawing/2014/main" id="{DE5653D0-B4F4-9082-9854-CFB8EFF9427B}"/>
              </a:ext>
            </a:extLst>
          </p:cNvPr>
          <p:cNvSpPr txBox="1"/>
          <p:nvPr/>
        </p:nvSpPr>
        <p:spPr>
          <a:xfrm>
            <a:off x="1368858" y="4981272"/>
            <a:ext cx="1216615" cy="3026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28" name="Textfeld 28">
            <a:extLst>
              <a:ext uri="{FF2B5EF4-FFF2-40B4-BE49-F238E27FC236}">
                <a16:creationId xmlns:a16="http://schemas.microsoft.com/office/drawing/2014/main" id="{3D1FFF5E-3D36-D6A1-D63B-EF43365A30A4}"/>
              </a:ext>
            </a:extLst>
          </p:cNvPr>
          <p:cNvSpPr txBox="1"/>
          <p:nvPr/>
        </p:nvSpPr>
        <p:spPr>
          <a:xfrm>
            <a:off x="687080" y="2671493"/>
            <a:ext cx="1216615" cy="3026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29" name="Textfeld 29">
            <a:extLst>
              <a:ext uri="{FF2B5EF4-FFF2-40B4-BE49-F238E27FC236}">
                <a16:creationId xmlns:a16="http://schemas.microsoft.com/office/drawing/2014/main" id="{C1B09CB0-5A7A-F467-D67A-73FDF103D088}"/>
              </a:ext>
            </a:extLst>
          </p:cNvPr>
          <p:cNvSpPr txBox="1"/>
          <p:nvPr/>
        </p:nvSpPr>
        <p:spPr>
          <a:xfrm>
            <a:off x="3304892" y="1146133"/>
            <a:ext cx="1216615" cy="30264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30" name="Foliennummernplatzhalter 3">
            <a:extLst>
              <a:ext uri="{FF2B5EF4-FFF2-40B4-BE49-F238E27FC236}">
                <a16:creationId xmlns:a16="http://schemas.microsoft.com/office/drawing/2014/main" id="{AB383385-8CBD-8863-A28F-F3A73E1D1139}"/>
              </a:ext>
            </a:extLst>
          </p:cNvPr>
          <p:cNvSpPr>
            <a:spLocks noGrp="1"/>
          </p:cNvSpPr>
          <p:nvPr/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FFFE70-FC19-4A94-9D10-0B3C8E890CB2}" type="slidenum">
              <a:rPr lang="de-DE" noProof="0" smtClean="0"/>
              <a:pPr/>
              <a:t>13</a:t>
            </a:fld>
            <a:endParaRPr lang="de-DE" noProof="0"/>
          </a:p>
        </p:txBody>
      </p:sp>
      <p:sp>
        <p:nvSpPr>
          <p:cNvPr id="31" name="Fußzeilenplatzhalter 6">
            <a:extLst>
              <a:ext uri="{FF2B5EF4-FFF2-40B4-BE49-F238E27FC236}">
                <a16:creationId xmlns:a16="http://schemas.microsoft.com/office/drawing/2014/main" id="{81D94D6C-8D0D-4447-BA7D-BF6F9215B756}"/>
              </a:ext>
            </a:extLst>
          </p:cNvPr>
          <p:cNvSpPr>
            <a:spLocks noGrp="1"/>
          </p:cNvSpPr>
          <p:nvPr/>
        </p:nvSpPr>
        <p:spPr bwMode="gray">
          <a:xfrm>
            <a:off x="480000" y="6526212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noProof="0"/>
              <a:t>Biblioteka slajdów Stoen Operator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ADD4B2B-131C-1BFA-F60A-88EA9BCE331B}"/>
              </a:ext>
            </a:extLst>
          </p:cNvPr>
          <p:cNvSpPr>
            <a:spLocks/>
          </p:cNvSpPr>
          <p:nvPr/>
        </p:nvSpPr>
        <p:spPr bwMode="gray">
          <a:xfrm>
            <a:off x="166414" y="0"/>
            <a:ext cx="7826400" cy="6859763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240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579A3E0C-6448-694C-3A5A-52175FE3874A}"/>
              </a:ext>
            </a:extLst>
          </p:cNvPr>
          <p:cNvSpPr/>
          <p:nvPr/>
        </p:nvSpPr>
        <p:spPr bwMode="gray">
          <a:xfrm>
            <a:off x="2585473" y="2139231"/>
            <a:ext cx="2675540" cy="2675540"/>
          </a:xfrm>
          <a:prstGeom prst="ellipse">
            <a:avLst/>
          </a:prstGeom>
          <a:solidFill>
            <a:srgbClr val="C41708"/>
          </a:solidFill>
          <a:ln w="9525" cap="flat" cmpd="sng">
            <a:noFill/>
            <a:prstDash val="solid"/>
            <a:round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2400" b="1">
                <a:solidFill>
                  <a:schemeClr val="bg1"/>
                </a:solidFill>
              </a:rPr>
              <a:t>Specustawa Przesyłowa</a:t>
            </a:r>
            <a:endParaRPr lang="de-DE" sz="2400" b="1">
              <a:solidFill>
                <a:schemeClr val="bg1"/>
              </a:solidFill>
            </a:endParaRPr>
          </a:p>
        </p:txBody>
      </p:sp>
      <p:pic>
        <p:nvPicPr>
          <p:cNvPr id="34" name="Graphic 14">
            <a:extLst>
              <a:ext uri="{FF2B5EF4-FFF2-40B4-BE49-F238E27FC236}">
                <a16:creationId xmlns:a16="http://schemas.microsoft.com/office/drawing/2014/main" id="{527B11E2-2339-A3BB-E311-D64E57DF8E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 rot="5400000">
            <a:off x="3779849" y="1558699"/>
            <a:ext cx="304800" cy="304800"/>
          </a:xfrm>
          <a:prstGeom prst="rect">
            <a:avLst/>
          </a:prstGeom>
        </p:spPr>
      </p:pic>
      <p:pic>
        <p:nvPicPr>
          <p:cNvPr id="35" name="Graphic 15">
            <a:extLst>
              <a:ext uri="{FF2B5EF4-FFF2-40B4-BE49-F238E27FC236}">
                <a16:creationId xmlns:a16="http://schemas.microsoft.com/office/drawing/2014/main" id="{010D397A-1B2B-A869-DD3E-5F3E83D211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 rot="9000000">
            <a:off x="5423212" y="2762153"/>
            <a:ext cx="304800" cy="304800"/>
          </a:xfrm>
          <a:prstGeom prst="rect">
            <a:avLst/>
          </a:prstGeom>
        </p:spPr>
      </p:pic>
      <p:pic>
        <p:nvPicPr>
          <p:cNvPr id="36" name="Graphic 16">
            <a:extLst>
              <a:ext uri="{FF2B5EF4-FFF2-40B4-BE49-F238E27FC236}">
                <a16:creationId xmlns:a16="http://schemas.microsoft.com/office/drawing/2014/main" id="{F93E119B-5C3C-751D-890B-0CE4614870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 rot="1800000">
            <a:off x="2127489" y="2761080"/>
            <a:ext cx="304800" cy="304800"/>
          </a:xfrm>
          <a:prstGeom prst="rect">
            <a:avLst/>
          </a:prstGeom>
        </p:spPr>
      </p:pic>
      <p:pic>
        <p:nvPicPr>
          <p:cNvPr id="37" name="Graphic 17">
            <a:extLst>
              <a:ext uri="{FF2B5EF4-FFF2-40B4-BE49-F238E27FC236}">
                <a16:creationId xmlns:a16="http://schemas.microsoft.com/office/drawing/2014/main" id="{C669CFF9-9783-2570-B0FA-03464A081B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 rot="18900000">
            <a:off x="2754333" y="4718367"/>
            <a:ext cx="304800" cy="304800"/>
          </a:xfrm>
          <a:prstGeom prst="rect">
            <a:avLst/>
          </a:prstGeom>
        </p:spPr>
      </p:pic>
      <p:pic>
        <p:nvPicPr>
          <p:cNvPr id="38" name="Graphic 18">
            <a:extLst>
              <a:ext uri="{FF2B5EF4-FFF2-40B4-BE49-F238E27FC236}">
                <a16:creationId xmlns:a16="http://schemas.microsoft.com/office/drawing/2014/main" id="{60B5908C-9907-F96F-2ECF-B28C0267C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 rot="13500000">
            <a:off x="4806575" y="4728927"/>
            <a:ext cx="304800" cy="304800"/>
          </a:xfrm>
          <a:prstGeom prst="rect">
            <a:avLst/>
          </a:prstGeom>
        </p:spPr>
      </p:pic>
      <p:sp>
        <p:nvSpPr>
          <p:cNvPr id="42" name="Textfeld 25">
            <a:extLst>
              <a:ext uri="{FF2B5EF4-FFF2-40B4-BE49-F238E27FC236}">
                <a16:creationId xmlns:a16="http://schemas.microsoft.com/office/drawing/2014/main" id="{9A1F1EF5-1965-2628-5A83-975537E22581}"/>
              </a:ext>
            </a:extLst>
          </p:cNvPr>
          <p:cNvSpPr txBox="1"/>
          <p:nvPr/>
        </p:nvSpPr>
        <p:spPr>
          <a:xfrm>
            <a:off x="5912804" y="1979563"/>
            <a:ext cx="1911430" cy="176533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r>
              <a:rPr lang="de-DE" b="1" noProof="1"/>
              <a:t>Możliwość szybkiego pozykania tytułu prawnego do nieruchomości na mocy decyzji lokalizacyjnej</a:t>
            </a:r>
            <a:endParaRPr lang="en-US"/>
          </a:p>
        </p:txBody>
      </p:sp>
      <p:sp>
        <p:nvSpPr>
          <p:cNvPr id="43" name="Textfeld 26">
            <a:extLst>
              <a:ext uri="{FF2B5EF4-FFF2-40B4-BE49-F238E27FC236}">
                <a16:creationId xmlns:a16="http://schemas.microsoft.com/office/drawing/2014/main" id="{977234BA-4918-501B-9943-9E537A5FD786}"/>
              </a:ext>
            </a:extLst>
          </p:cNvPr>
          <p:cNvSpPr txBox="1"/>
          <p:nvPr/>
        </p:nvSpPr>
        <p:spPr>
          <a:xfrm>
            <a:off x="5343208" y="4809398"/>
            <a:ext cx="2231891" cy="12214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r>
              <a:rPr lang="de-DE" b="1" noProof="1"/>
              <a:t>Na każdą fazę realizacji projektu przypada tylko kilka decyzji administracyjnych</a:t>
            </a:r>
            <a:endParaRPr lang="en-US"/>
          </a:p>
        </p:txBody>
      </p:sp>
      <p:sp>
        <p:nvSpPr>
          <p:cNvPr id="44" name="Textfeld 27">
            <a:extLst>
              <a:ext uri="{FF2B5EF4-FFF2-40B4-BE49-F238E27FC236}">
                <a16:creationId xmlns:a16="http://schemas.microsoft.com/office/drawing/2014/main" id="{EEC73228-ABA2-1C36-A01D-EE681D66B903}"/>
              </a:ext>
            </a:extLst>
          </p:cNvPr>
          <p:cNvSpPr txBox="1"/>
          <p:nvPr/>
        </p:nvSpPr>
        <p:spPr>
          <a:xfrm>
            <a:off x="168412" y="2143479"/>
            <a:ext cx="2319375" cy="12158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r>
              <a:rPr lang="de-DE" b="1" noProof="1">
                <a:latin typeface="EON Brix Sans"/>
                <a:ea typeface="Calibri"/>
                <a:cs typeface="Calibri"/>
              </a:rPr>
              <a:t>Możliwość prowadzenia postępowań przy nieuregulowanych stanach prawnych</a:t>
            </a:r>
            <a:endParaRPr lang="en-US"/>
          </a:p>
        </p:txBody>
      </p:sp>
      <p:sp>
        <p:nvSpPr>
          <p:cNvPr id="45" name="Textfeld 28">
            <a:extLst>
              <a:ext uri="{FF2B5EF4-FFF2-40B4-BE49-F238E27FC236}">
                <a16:creationId xmlns:a16="http://schemas.microsoft.com/office/drawing/2014/main" id="{4229E8F7-EE2E-9B6A-EB17-6416FF1FA7F0}"/>
              </a:ext>
            </a:extLst>
          </p:cNvPr>
          <p:cNvSpPr txBox="1"/>
          <p:nvPr/>
        </p:nvSpPr>
        <p:spPr>
          <a:xfrm>
            <a:off x="575692" y="4666499"/>
            <a:ext cx="2223853" cy="152009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r>
              <a:rPr lang="pl-PL" b="1" noProof="1">
                <a:solidFill>
                  <a:srgbClr val="1A1A1A"/>
                </a:solidFill>
                <a:latin typeface="Calibri"/>
                <a:ea typeface="Calibri"/>
                <a:cs typeface="Calibri"/>
              </a:rPr>
              <a:t>Odszkodowania wypłacane po realizacji na zasadach ogólnych, ustalanych przez wojewodę</a:t>
            </a:r>
            <a:endParaRPr lang="en-US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pl-PL" sz="1600" b="1"/>
          </a:p>
        </p:txBody>
      </p:sp>
      <p:sp>
        <p:nvSpPr>
          <p:cNvPr id="47" name="Foliennummernplatzhalter 3">
            <a:extLst>
              <a:ext uri="{FF2B5EF4-FFF2-40B4-BE49-F238E27FC236}">
                <a16:creationId xmlns:a16="http://schemas.microsoft.com/office/drawing/2014/main" id="{526257A3-1BB6-1C46-7474-D38FF917DBAD}"/>
              </a:ext>
            </a:extLst>
          </p:cNvPr>
          <p:cNvSpPr>
            <a:spLocks noGrp="1"/>
          </p:cNvSpPr>
          <p:nvPr/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FFFE70-FC19-4A94-9D10-0B3C8E890CB2}" type="slidenum">
              <a:rPr lang="de-DE" noProof="0" smtClean="0"/>
              <a:pPr/>
              <a:t>13</a:t>
            </a:fld>
            <a:endParaRPr lang="de-DE" noProof="0"/>
          </a:p>
        </p:txBody>
      </p:sp>
      <p:sp>
        <p:nvSpPr>
          <p:cNvPr id="4" name="Textfeld 25">
            <a:extLst>
              <a:ext uri="{FF2B5EF4-FFF2-40B4-BE49-F238E27FC236}">
                <a16:creationId xmlns:a16="http://schemas.microsoft.com/office/drawing/2014/main" id="{196867D0-0EC5-8FF6-7978-4479374BC1C1}"/>
              </a:ext>
            </a:extLst>
          </p:cNvPr>
          <p:cNvSpPr txBox="1"/>
          <p:nvPr/>
        </p:nvSpPr>
        <p:spPr>
          <a:xfrm>
            <a:off x="2802051" y="70080"/>
            <a:ext cx="2547925" cy="176533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r>
              <a:rPr lang="de-DE" b="1" noProof="1"/>
              <a:t>Usprawnienie procesu realizacji inwestycji we współpracy z instytucjami publicznymi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346B6944-9E43-C23C-E486-087E38260A63}"/>
              </a:ext>
            </a:extLst>
          </p:cNvPr>
          <p:cNvSpPr>
            <a:spLocks noGrp="1"/>
          </p:cNvSpPr>
          <p:nvPr/>
        </p:nvSpPr>
        <p:spPr bwMode="gray">
          <a:xfrm>
            <a:off x="8256989" y="1560282"/>
            <a:ext cx="3584114" cy="4784954"/>
          </a:xfrm>
          <a:prstGeom prst="rect">
            <a:avLst/>
          </a:prstGeom>
          <a:solidFill>
            <a:srgbClr val="F8F5F2"/>
          </a:solidFill>
        </p:spPr>
        <p:txBody>
          <a:bodyPr vert="horz" lIns="180000" tIns="144000" rIns="180000" bIns="144000" rtlCol="0" anchor="t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800" noProof="1">
                <a:solidFill>
                  <a:schemeClr val="accent1"/>
                </a:solidFill>
              </a:rPr>
              <a:t>Jedyne decyzje w fazie przygotowania:</a:t>
            </a:r>
          </a:p>
          <a:p>
            <a:endParaRPr lang="pl-PL" sz="1200" b="1" noProof="1">
              <a:solidFill>
                <a:schemeClr val="accent1"/>
              </a:solidFill>
            </a:endParaRPr>
          </a:p>
          <a:p>
            <a:pPr marL="285750" indent="-285750">
              <a:buChar char="•"/>
            </a:pPr>
            <a:r>
              <a:rPr lang="pl-PL" sz="1200" b="1" noProof="1">
                <a:solidFill>
                  <a:srgbClr val="1A1A1A"/>
                </a:solidFill>
                <a:latin typeface="Calibri"/>
                <a:ea typeface="Calibri"/>
                <a:cs typeface="Calibri"/>
              </a:rPr>
              <a:t>Decyzja lokalizacyjna</a:t>
            </a:r>
            <a:r>
              <a:rPr lang="pl-PL" sz="1200" noProof="1">
                <a:solidFill>
                  <a:srgbClr val="1A1A1A"/>
                </a:solidFill>
                <a:latin typeface="Calibri"/>
                <a:ea typeface="Calibri"/>
                <a:cs typeface="Calibri"/>
              </a:rPr>
              <a:t> z elementem ograniczenia art. 22</a:t>
            </a:r>
          </a:p>
          <a:p>
            <a:pPr marL="501650" lvl="1" indent="-215900">
              <a:buFont typeface="Courier New" panose="020B0604020202020204" pitchFamily="34" charset="0"/>
              <a:buChar char="o"/>
            </a:pPr>
            <a:r>
              <a:rPr lang="pl-PL" sz="1200" noProof="1">
                <a:solidFill>
                  <a:srgbClr val="1A1A1A"/>
                </a:solidFill>
                <a:latin typeface="Calibri"/>
                <a:ea typeface="Calibri"/>
                <a:cs typeface="Calibri"/>
              </a:rPr>
              <a:t>Do wniosku o wydanie DLS wnioskodawca dołącza opinie właściwych organów/podmiotów oraz uzgodnienie z zarządcą drogi krajowej. Opinie te nie przesądzają o realizacji ani rodzaju inwestycji, a jedynie wpływają na sposób jej prowadzenia. Ostateczne ukształtowanie inwestycji należy do wojewody, który może uwzględnić opinie w całości lub części.</a:t>
            </a:r>
            <a:endParaRPr lang="pl-PL" sz="1200" noProof="1">
              <a:latin typeface="Calibri"/>
              <a:ea typeface="Calibri"/>
              <a:cs typeface="Calibri"/>
            </a:endParaRPr>
          </a:p>
          <a:p>
            <a:pPr marL="285750" indent="-285750">
              <a:buChar char="•"/>
            </a:pPr>
            <a:r>
              <a:rPr lang="pl-PL" sz="1200" b="1" noProof="1">
                <a:solidFill>
                  <a:srgbClr val="1A1A1A"/>
                </a:solidFill>
                <a:latin typeface="Calibri"/>
                <a:ea typeface="Calibri"/>
                <a:cs typeface="Calibri"/>
              </a:rPr>
              <a:t>Decyzja o pozwoleniu na budowę </a:t>
            </a:r>
            <a:r>
              <a:rPr lang="pl-PL" sz="1200" noProof="1">
                <a:solidFill>
                  <a:srgbClr val="1A1A1A"/>
                </a:solidFill>
                <a:latin typeface="Calibri"/>
                <a:ea typeface="Calibri"/>
                <a:cs typeface="Calibri"/>
              </a:rPr>
              <a:t>(PnB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b="1" noProof="1">
                <a:solidFill>
                  <a:srgbClr val="1A1A1A"/>
                </a:solidFill>
                <a:latin typeface="Calibri"/>
                <a:ea typeface="Calibri"/>
                <a:cs typeface="Calibri"/>
              </a:rPr>
              <a:t>Decyzja o środowiskowych uwarunkowaniach </a:t>
            </a:r>
            <a:r>
              <a:rPr lang="pl-PL" sz="1200" noProof="1">
                <a:solidFill>
                  <a:srgbClr val="1A1A1A"/>
                </a:solidFill>
                <a:latin typeface="Calibri"/>
                <a:ea typeface="Calibri"/>
                <a:cs typeface="Calibri"/>
              </a:rPr>
              <a:t>(o ile jest wymagana)</a:t>
            </a:r>
          </a:p>
        </p:txBody>
      </p:sp>
      <p:sp>
        <p:nvSpPr>
          <p:cNvPr id="5" name="Symbol zastępczy stopki 1">
            <a:extLst>
              <a:ext uri="{FF2B5EF4-FFF2-40B4-BE49-F238E27FC236}">
                <a16:creationId xmlns:a16="http://schemas.microsoft.com/office/drawing/2014/main" id="{1BCDFFA7-D1E5-3A0E-A9BE-CF131B505749}"/>
              </a:ext>
            </a:extLst>
          </p:cNvPr>
          <p:cNvSpPr txBox="1">
            <a:spLocks/>
          </p:cNvSpPr>
          <p:nvPr/>
        </p:nvSpPr>
        <p:spPr bwMode="gray">
          <a:xfrm>
            <a:off x="606782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78935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9A676A5B-6CB7-8674-FFE1-E81A1BF320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347" y="1823706"/>
            <a:ext cx="6415133" cy="4276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ichtungspfeil 8">
            <a:extLst>
              <a:ext uri="{FF2B5EF4-FFF2-40B4-BE49-F238E27FC236}">
                <a16:creationId xmlns:a16="http://schemas.microsoft.com/office/drawing/2014/main" id="{3F7F0885-C952-F455-B1C1-2749716ACA44}"/>
              </a:ext>
            </a:extLst>
          </p:cNvPr>
          <p:cNvSpPr/>
          <p:nvPr/>
        </p:nvSpPr>
        <p:spPr bwMode="gray">
          <a:xfrm>
            <a:off x="8690043" y="1808163"/>
            <a:ext cx="3501957" cy="5049837"/>
          </a:xfrm>
          <a:prstGeom prst="homePlate">
            <a:avLst>
              <a:gd name="adj" fmla="val 20191"/>
            </a:avLst>
          </a:prstGeom>
          <a:solidFill>
            <a:srgbClr val="D7D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600"/>
              </a:spcAft>
              <a:buClr>
                <a:schemeClr val="tx1"/>
              </a:buClr>
            </a:pPr>
            <a:endParaRPr lang="de-DE" sz="1465" b="1">
              <a:solidFill>
                <a:schemeClr val="tx1"/>
              </a:solidFill>
              <a:latin typeface="EON Brix Sans" panose="020B0504040000000000" pitchFamily="34" charset="77"/>
            </a:endParaRPr>
          </a:p>
        </p:txBody>
      </p:sp>
      <p:sp>
        <p:nvSpPr>
          <p:cNvPr id="7" name="Richtungspfeil 7">
            <a:extLst>
              <a:ext uri="{FF2B5EF4-FFF2-40B4-BE49-F238E27FC236}">
                <a16:creationId xmlns:a16="http://schemas.microsoft.com/office/drawing/2014/main" id="{B72998CE-CD46-248D-FC4E-AE97773722F1}"/>
              </a:ext>
            </a:extLst>
          </p:cNvPr>
          <p:cNvSpPr/>
          <p:nvPr/>
        </p:nvSpPr>
        <p:spPr bwMode="gray">
          <a:xfrm>
            <a:off x="5902449" y="1808163"/>
            <a:ext cx="3501957" cy="5049837"/>
          </a:xfrm>
          <a:prstGeom prst="homePlate">
            <a:avLst>
              <a:gd name="adj" fmla="val 20191"/>
            </a:avLst>
          </a:prstGeom>
          <a:solidFill>
            <a:srgbClr val="F0EB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600"/>
              </a:spcAft>
              <a:buClr>
                <a:schemeClr val="tx1"/>
              </a:buClr>
            </a:pPr>
            <a:endParaRPr lang="de-DE" sz="1465" b="1">
              <a:solidFill>
                <a:schemeClr val="tx1"/>
              </a:solidFill>
              <a:latin typeface="EON Brix Sans" panose="020B0504040000000000" pitchFamily="34" charset="77"/>
            </a:endParaRPr>
          </a:p>
        </p:txBody>
      </p:sp>
      <p:sp>
        <p:nvSpPr>
          <p:cNvPr id="8" name="Richtungspfeil 5">
            <a:extLst>
              <a:ext uri="{FF2B5EF4-FFF2-40B4-BE49-F238E27FC236}">
                <a16:creationId xmlns:a16="http://schemas.microsoft.com/office/drawing/2014/main" id="{2A0B63F0-9971-E878-980E-C54B0A08D462}"/>
              </a:ext>
            </a:extLst>
          </p:cNvPr>
          <p:cNvSpPr/>
          <p:nvPr/>
        </p:nvSpPr>
        <p:spPr bwMode="gray">
          <a:xfrm>
            <a:off x="3293946" y="1808163"/>
            <a:ext cx="3322868" cy="5049837"/>
          </a:xfrm>
          <a:prstGeom prst="homePlate">
            <a:avLst>
              <a:gd name="adj" fmla="val 21055"/>
            </a:avLst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600"/>
              </a:spcAft>
              <a:buClr>
                <a:schemeClr val="tx1"/>
              </a:buClr>
            </a:pPr>
            <a:endParaRPr lang="de-DE" sz="1465" b="1">
              <a:solidFill>
                <a:schemeClr val="tx1"/>
              </a:solidFill>
              <a:latin typeface="EON Brix Sans" panose="020B0504040000000000" pitchFamily="34" charset="77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F71CFCD1-D6ED-C2DF-AF97-AAA8A148FCE2}"/>
              </a:ext>
            </a:extLst>
          </p:cNvPr>
          <p:cNvSpPr>
            <a:spLocks noGrp="1"/>
          </p:cNvSpPr>
          <p:nvPr/>
        </p:nvSpPr>
        <p:spPr bwMode="gray">
          <a:xfrm>
            <a:off x="501538" y="501362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dirty="0"/>
              <a:t>Kluczowe kroki w procesie realizacji inwestycji ze specustawy</a:t>
            </a:r>
            <a:endParaRPr lang="de-DE" dirty="0"/>
          </a:p>
        </p:txBody>
      </p:sp>
      <p:sp>
        <p:nvSpPr>
          <p:cNvPr id="10" name="02 Textbox 30%">
            <a:extLst>
              <a:ext uri="{FF2B5EF4-FFF2-40B4-BE49-F238E27FC236}">
                <a16:creationId xmlns:a16="http://schemas.microsoft.com/office/drawing/2014/main" id="{B3A7A2D4-AED5-1670-F3FC-0E071ED69169}"/>
              </a:ext>
            </a:extLst>
          </p:cNvPr>
          <p:cNvSpPr txBox="1"/>
          <p:nvPr/>
        </p:nvSpPr>
        <p:spPr>
          <a:xfrm>
            <a:off x="3747594" y="3050109"/>
            <a:ext cx="2390136" cy="3384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marL="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lvl="1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lvl="2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lvl="3" indent="-216000" algn="l" defTabSz="540000" rtl="0" eaLnBrk="1" latinLnBrk="0" hangingPunct="1">
              <a:lnSpc>
                <a:spcPct val="120000"/>
              </a:lnSpc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pl-PL"/>
              <a:t>staranna analiza możliwych tras</a:t>
            </a:r>
          </a:p>
          <a:p>
            <a:pPr lvl="1"/>
            <a:r>
              <a:rPr lang="pl-PL"/>
              <a:t>wykonanie projektu</a:t>
            </a:r>
          </a:p>
          <a:p>
            <a:pPr lvl="1"/>
            <a:r>
              <a:rPr lang="pl-PL"/>
              <a:t>pozyskanie decyzji lokalizacyjnej</a:t>
            </a:r>
          </a:p>
          <a:p>
            <a:pPr lvl="1"/>
            <a:r>
              <a:rPr lang="pl-PL"/>
              <a:t>pozyskanie pozwolenia na budowę</a:t>
            </a:r>
          </a:p>
          <a:p>
            <a:pPr lvl="1"/>
            <a:r>
              <a:rPr lang="pl-PL"/>
              <a:t>operaty szacunkowe </a:t>
            </a:r>
            <a:endParaRPr lang="de-DE"/>
          </a:p>
        </p:txBody>
      </p:sp>
      <p:sp>
        <p:nvSpPr>
          <p:cNvPr id="11" name="02 Textbox 30%">
            <a:extLst>
              <a:ext uri="{FF2B5EF4-FFF2-40B4-BE49-F238E27FC236}">
                <a16:creationId xmlns:a16="http://schemas.microsoft.com/office/drawing/2014/main" id="{09B85CFC-F565-1F3A-BF29-6A3FAFD73B1E}"/>
              </a:ext>
            </a:extLst>
          </p:cNvPr>
          <p:cNvSpPr txBox="1"/>
          <p:nvPr/>
        </p:nvSpPr>
        <p:spPr>
          <a:xfrm>
            <a:off x="3773945" y="1945392"/>
            <a:ext cx="2124000" cy="8892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400" b="1"/>
              <a:t>przygotowanie</a:t>
            </a:r>
          </a:p>
          <a:p>
            <a:r>
              <a:rPr lang="pl-PL" b="1"/>
              <a:t>ok. 12 msc.*</a:t>
            </a:r>
            <a:endParaRPr lang="de-DE" b="1"/>
          </a:p>
        </p:txBody>
      </p:sp>
      <p:sp>
        <p:nvSpPr>
          <p:cNvPr id="13" name="02 Textbox 30%">
            <a:extLst>
              <a:ext uri="{FF2B5EF4-FFF2-40B4-BE49-F238E27FC236}">
                <a16:creationId xmlns:a16="http://schemas.microsoft.com/office/drawing/2014/main" id="{EFE9B882-DB3C-E601-88F6-D912E3341F32}"/>
              </a:ext>
            </a:extLst>
          </p:cNvPr>
          <p:cNvSpPr txBox="1"/>
          <p:nvPr/>
        </p:nvSpPr>
        <p:spPr>
          <a:xfrm>
            <a:off x="6623892" y="1945393"/>
            <a:ext cx="2124000" cy="88927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400" b="1"/>
              <a:t>realizacja</a:t>
            </a:r>
          </a:p>
          <a:p>
            <a:r>
              <a:rPr lang="pl-PL" b="1"/>
              <a:t>ok. 6-24 msc.*</a:t>
            </a:r>
            <a:endParaRPr lang="de-DE" b="1"/>
          </a:p>
        </p:txBody>
      </p:sp>
      <p:sp>
        <p:nvSpPr>
          <p:cNvPr id="15" name="02 Textbox 30%">
            <a:extLst>
              <a:ext uri="{FF2B5EF4-FFF2-40B4-BE49-F238E27FC236}">
                <a16:creationId xmlns:a16="http://schemas.microsoft.com/office/drawing/2014/main" id="{2B908C66-F6B9-D16E-1C08-A1B0EB5423C5}"/>
              </a:ext>
            </a:extLst>
          </p:cNvPr>
          <p:cNvSpPr txBox="1"/>
          <p:nvPr/>
        </p:nvSpPr>
        <p:spPr>
          <a:xfrm>
            <a:off x="9411484" y="1945393"/>
            <a:ext cx="2124000" cy="4035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400" b="1"/>
              <a:t>rozliczenie stanu prawnego</a:t>
            </a:r>
          </a:p>
          <a:p>
            <a:r>
              <a:rPr lang="pl-PL" b="1"/>
              <a:t>ok. 6-24 msc.*</a:t>
            </a:r>
            <a:endParaRPr lang="de-DE" b="1"/>
          </a:p>
        </p:txBody>
      </p:sp>
      <p:sp>
        <p:nvSpPr>
          <p:cNvPr id="18" name="Foliennummernplatzhalter 14">
            <a:extLst>
              <a:ext uri="{FF2B5EF4-FFF2-40B4-BE49-F238E27FC236}">
                <a16:creationId xmlns:a16="http://schemas.microsoft.com/office/drawing/2014/main" id="{763F4600-B0C2-B3BE-F959-76AA829269F1}"/>
              </a:ext>
            </a:extLst>
          </p:cNvPr>
          <p:cNvSpPr>
            <a:spLocks noGrp="1"/>
          </p:cNvSpPr>
          <p:nvPr/>
        </p:nvSpPr>
        <p:spPr bwMode="gray">
          <a:xfrm>
            <a:off x="11911888" y="6526213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FFFE70-FC19-4A94-9D10-0B3C8E890CB2}" type="slidenum">
              <a:rPr lang="de-DE" noProof="0" smtClean="0"/>
              <a:pPr/>
              <a:t>14</a:t>
            </a:fld>
            <a:endParaRPr lang="de-DE" noProof="0"/>
          </a:p>
        </p:txBody>
      </p:sp>
      <p:sp>
        <p:nvSpPr>
          <p:cNvPr id="20" name="02 Textbox 30%">
            <a:extLst>
              <a:ext uri="{FF2B5EF4-FFF2-40B4-BE49-F238E27FC236}">
                <a16:creationId xmlns:a16="http://schemas.microsoft.com/office/drawing/2014/main" id="{7C7FFC27-9658-2AD1-22A3-ABDFD300CC7D}"/>
              </a:ext>
            </a:extLst>
          </p:cNvPr>
          <p:cNvSpPr txBox="1"/>
          <p:nvPr/>
        </p:nvSpPr>
        <p:spPr>
          <a:xfrm>
            <a:off x="6677759" y="3050109"/>
            <a:ext cx="2390136" cy="33845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lvl="1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lvl="2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lvl="3" indent="-216000" algn="l" defTabSz="540000" rtl="0" eaLnBrk="1" latinLnBrk="0" hangingPunct="1">
              <a:lnSpc>
                <a:spcPct val="120000"/>
              </a:lnSpc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lvl="1" indent="-215900"/>
            <a:r>
              <a:rPr lang="pl-PL" dirty="0"/>
              <a:t>przeprowadzenie prac na wyznaczonych terenach zgodnie z </a:t>
            </a:r>
            <a:r>
              <a:rPr lang="pl-PL" noProof="1"/>
              <a:t>PnB</a:t>
            </a:r>
          </a:p>
          <a:p>
            <a:pPr marL="215900" lvl="1" indent="-215900"/>
            <a:r>
              <a:rPr lang="pl-PL" dirty="0"/>
              <a:t>w zależności od inwestycji: ewentualne pozyskanie decyzji derogacyjnych, zgłoszeń wodnoprawnych etc.</a:t>
            </a:r>
            <a:endParaRPr lang="de-DE" dirty="0"/>
          </a:p>
        </p:txBody>
      </p:sp>
      <p:sp>
        <p:nvSpPr>
          <p:cNvPr id="21" name="02 Textbox 30%">
            <a:extLst>
              <a:ext uri="{FF2B5EF4-FFF2-40B4-BE49-F238E27FC236}">
                <a16:creationId xmlns:a16="http://schemas.microsoft.com/office/drawing/2014/main" id="{ABDFEEC3-81CD-6FCF-7BF6-222BCB6F135A}"/>
              </a:ext>
            </a:extLst>
          </p:cNvPr>
          <p:cNvSpPr txBox="1"/>
          <p:nvPr/>
        </p:nvSpPr>
        <p:spPr>
          <a:xfrm>
            <a:off x="9525709" y="3425890"/>
            <a:ext cx="2390136" cy="3384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marL="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lvl="1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lvl="2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lvl="3" indent="-216000" algn="l" defTabSz="540000" rtl="0" eaLnBrk="1" latinLnBrk="0" hangingPunct="1">
              <a:lnSpc>
                <a:spcPct val="120000"/>
              </a:lnSpc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pl-PL" dirty="0"/>
              <a:t>złożenie przez Inwestora wniosków o odszkodowania dla właścicieli działek</a:t>
            </a:r>
          </a:p>
          <a:p>
            <a:pPr lvl="1"/>
            <a:r>
              <a:rPr lang="pl-PL" dirty="0"/>
              <a:t>wypłata odszkodowań na podstawie decyzji Urzędu Wojewódzkiego</a:t>
            </a:r>
          </a:p>
        </p:txBody>
      </p:sp>
      <p:sp>
        <p:nvSpPr>
          <p:cNvPr id="22" name="Fußzeilenplatzhalter 15">
            <a:extLst>
              <a:ext uri="{FF2B5EF4-FFF2-40B4-BE49-F238E27FC236}">
                <a16:creationId xmlns:a16="http://schemas.microsoft.com/office/drawing/2014/main" id="{3C9B03D7-C2E7-1B77-8D76-E9700AC5D63E}"/>
              </a:ext>
            </a:extLst>
          </p:cNvPr>
          <p:cNvSpPr>
            <a:spLocks noGrp="1"/>
          </p:cNvSpPr>
          <p:nvPr/>
        </p:nvSpPr>
        <p:spPr bwMode="gray">
          <a:xfrm>
            <a:off x="3631895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noProof="1"/>
              <a:t>*estymacja, może ulec zmianie w przypadku konkretnej realizacji</a:t>
            </a:r>
            <a:r>
              <a:rPr lang="en-GB" noProof="1"/>
              <a:t> </a:t>
            </a:r>
          </a:p>
          <a:p>
            <a:endParaRPr lang="de-DE" noProof="0" dirty="0"/>
          </a:p>
        </p:txBody>
      </p:sp>
      <p:sp>
        <p:nvSpPr>
          <p:cNvPr id="23" name="Symbol zastępczy stopki 1">
            <a:extLst>
              <a:ext uri="{FF2B5EF4-FFF2-40B4-BE49-F238E27FC236}">
                <a16:creationId xmlns:a16="http://schemas.microsoft.com/office/drawing/2014/main" id="{16C6CFAC-D507-B170-B89B-01AF53330406}"/>
              </a:ext>
            </a:extLst>
          </p:cNvPr>
          <p:cNvSpPr txBox="1">
            <a:spLocks/>
          </p:cNvSpPr>
          <p:nvPr/>
        </p:nvSpPr>
        <p:spPr bwMode="gray">
          <a:xfrm>
            <a:off x="606782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98692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A3512-7BF2-B5AB-88C1-8D1CEBE61D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9B56D76C-A8DA-A4DA-2DCD-C4D0EA9CDB25}"/>
              </a:ext>
            </a:extLst>
          </p:cNvPr>
          <p:cNvSpPr txBox="1">
            <a:spLocks/>
          </p:cNvSpPr>
          <p:nvPr/>
        </p:nvSpPr>
        <p:spPr>
          <a:xfrm>
            <a:off x="6275388" y="1623115"/>
            <a:ext cx="3527425" cy="5060548"/>
          </a:xfrm>
          <a:prstGeom prst="rect">
            <a:avLst/>
          </a:prstGeom>
        </p:spPr>
        <p:txBody>
          <a:bodyPr vert="horz" lIns="180000" tIns="144000" rIns="180000" bIns="144000" rtlCol="0" anchor="t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>
                <a:solidFill>
                  <a:srgbClr val="FF0000"/>
                </a:solidFill>
              </a:rPr>
              <a:t>Wyzwania</a:t>
            </a:r>
          </a:p>
          <a:p>
            <a:endParaRPr lang="en-GB" dirty="0"/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pl-PL" sz="1200" dirty="0"/>
              <a:t>skuteczność informowania mieszkańców o planowanych spotkaniach oraz o znaczeniu planowanych inwestycji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pl-PL" sz="1200" dirty="0"/>
              <a:t>protesty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pl-PL" sz="1200" dirty="0"/>
              <a:t>opór lokalnej społecznośc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400" dirty="0"/>
          </a:p>
          <a:p>
            <a:endParaRPr lang="en-GB" dirty="0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A67EC110-82F6-5FCE-BDA2-9374F966789C}"/>
              </a:ext>
            </a:extLst>
          </p:cNvPr>
          <p:cNvSpPr txBox="1">
            <a:spLocks/>
          </p:cNvSpPr>
          <p:nvPr/>
        </p:nvSpPr>
        <p:spPr>
          <a:xfrm>
            <a:off x="1846004" y="1629186"/>
            <a:ext cx="3480616" cy="5060546"/>
          </a:xfrm>
          <a:prstGeom prst="rect">
            <a:avLst/>
          </a:prstGeom>
        </p:spPr>
        <p:txBody>
          <a:bodyPr vert="horz" lIns="180000" tIns="144000" rIns="180000" bIns="144000" rtlCol="0" anchor="t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>
                <a:solidFill>
                  <a:srgbClr val="FF0000"/>
                </a:solidFill>
              </a:rPr>
              <a:t>Cel projektu</a:t>
            </a:r>
            <a:endParaRPr lang="en-GB" b="1" dirty="0">
              <a:solidFill>
                <a:srgbClr val="FF0000"/>
              </a:solidFill>
            </a:endParaRPr>
          </a:p>
          <a:p>
            <a:endParaRPr lang="en-GB" dirty="0"/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pl-PL" sz="1200" dirty="0"/>
              <a:t>komunikacja skierowana do osób prywatnych i opinii publicznej oraz do urzędów i organów opiniujących wnioski</a:t>
            </a:r>
            <a:endParaRPr lang="en-US" sz="1200" dirty="0"/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pl-PL" sz="1200" dirty="0"/>
              <a:t>wewnętrzna procedura pozyskiwania tytułów prawnych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pl-PL" sz="1200" dirty="0"/>
              <a:t>standaryzacja dokumentacji do decyzji administracyjnych zgodna z oczekiwaniami MUW</a:t>
            </a:r>
            <a:endParaRPr lang="en-US" sz="1200" dirty="0"/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pl-PL" sz="1200" dirty="0"/>
              <a:t>mapy procesu przygotowania i realizacji inwestycji na mocy specustawy przesyłowej</a:t>
            </a:r>
          </a:p>
          <a:p>
            <a:endParaRPr lang="en-GB" dirty="0"/>
          </a:p>
        </p:txBody>
      </p:sp>
      <p:sp>
        <p:nvSpPr>
          <p:cNvPr id="31" name="Title 3">
            <a:extLst>
              <a:ext uri="{FF2B5EF4-FFF2-40B4-BE49-F238E27FC236}">
                <a16:creationId xmlns:a16="http://schemas.microsoft.com/office/drawing/2014/main" id="{EE2BBC0F-CA9B-77CF-C583-E45B84871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/>
          <a:p>
            <a:r>
              <a:rPr lang="pl-PL" dirty="0">
                <a:solidFill>
                  <a:srgbClr val="FF0000"/>
                </a:solidFill>
              </a:rPr>
              <a:t>Projekt komunikacji w pigułce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32" name="Grafika 31" descr="Burza mózgów kontur">
            <a:extLst>
              <a:ext uri="{FF2B5EF4-FFF2-40B4-BE49-F238E27FC236}">
                <a16:creationId xmlns:a16="http://schemas.microsoft.com/office/drawing/2014/main" id="{A85DF138-9A39-F791-1EB9-948306E276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3488" y="1399160"/>
            <a:ext cx="914400" cy="914400"/>
          </a:xfrm>
          <a:prstGeom prst="rect">
            <a:avLst/>
          </a:prstGeom>
        </p:spPr>
      </p:pic>
      <p:pic>
        <p:nvPicPr>
          <p:cNvPr id="33" name="Grafika 32" descr="Strzał w dziesiątkę kontur">
            <a:extLst>
              <a:ext uri="{FF2B5EF4-FFF2-40B4-BE49-F238E27FC236}">
                <a16:creationId xmlns:a16="http://schemas.microsoft.com/office/drawing/2014/main" id="{ACA2927D-BA0F-07E2-9868-502B4E0480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03601" y="1399160"/>
            <a:ext cx="914400" cy="914400"/>
          </a:xfrm>
          <a:prstGeom prst="rect">
            <a:avLst/>
          </a:prstGeom>
        </p:spPr>
      </p:pic>
      <p:sp>
        <p:nvSpPr>
          <p:cNvPr id="2" name="Symbol zastępczy stopki 1">
            <a:extLst>
              <a:ext uri="{FF2B5EF4-FFF2-40B4-BE49-F238E27FC236}">
                <a16:creationId xmlns:a16="http://schemas.microsoft.com/office/drawing/2014/main" id="{18311F99-34FD-8917-BFA5-8F18B92222E6}"/>
              </a:ext>
            </a:extLst>
          </p:cNvPr>
          <p:cNvSpPr txBox="1">
            <a:spLocks/>
          </p:cNvSpPr>
          <p:nvPr/>
        </p:nvSpPr>
        <p:spPr bwMode="gray">
          <a:xfrm>
            <a:off x="561062" y="6573705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86781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A859C5-2DF3-AB71-2A4B-3B64EC63C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35496-FC3F-4BE2-84CA-615D9930646E}" type="slidenum">
              <a:rPr lang="en-US" smtClean="0"/>
              <a:t>16</a:t>
            </a:fld>
            <a:endParaRPr lang="en-US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40D88C71-2019-44AA-0DAA-9383CDFDD797}"/>
              </a:ext>
            </a:extLst>
          </p:cNvPr>
          <p:cNvSpPr>
            <a:spLocks noGrp="1"/>
          </p:cNvSpPr>
          <p:nvPr/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noProof="1"/>
              <a:t>Komunikacja inwestycji - podejście</a:t>
            </a:r>
            <a:endParaRPr lang="en-US" noProof="1"/>
          </a:p>
        </p:txBody>
      </p:sp>
      <p:sp>
        <p:nvSpPr>
          <p:cNvPr id="5" name="Richtungspfeil 29">
            <a:extLst>
              <a:ext uri="{FF2B5EF4-FFF2-40B4-BE49-F238E27FC236}">
                <a16:creationId xmlns:a16="http://schemas.microsoft.com/office/drawing/2014/main" id="{7E3B1742-A163-1191-B569-0D3E5A0B7A7B}"/>
              </a:ext>
            </a:extLst>
          </p:cNvPr>
          <p:cNvSpPr/>
          <p:nvPr/>
        </p:nvSpPr>
        <p:spPr bwMode="gray">
          <a:xfrm>
            <a:off x="809259" y="2926530"/>
            <a:ext cx="3192316" cy="3128623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467">
              <a:solidFill>
                <a:schemeClr val="tx1"/>
              </a:solidFill>
            </a:endParaRPr>
          </a:p>
        </p:txBody>
      </p:sp>
      <p:sp>
        <p:nvSpPr>
          <p:cNvPr id="6" name="Richtungspfeil 29">
            <a:extLst>
              <a:ext uri="{FF2B5EF4-FFF2-40B4-BE49-F238E27FC236}">
                <a16:creationId xmlns:a16="http://schemas.microsoft.com/office/drawing/2014/main" id="{6B07617C-397D-91AF-14F4-5B5C21234478}"/>
              </a:ext>
            </a:extLst>
          </p:cNvPr>
          <p:cNvSpPr/>
          <p:nvPr/>
        </p:nvSpPr>
        <p:spPr bwMode="gray">
          <a:xfrm>
            <a:off x="4282217" y="2945343"/>
            <a:ext cx="3521131" cy="3100402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467">
              <a:solidFill>
                <a:schemeClr val="tx1"/>
              </a:solidFill>
            </a:endParaRPr>
          </a:p>
        </p:txBody>
      </p:sp>
      <p:sp>
        <p:nvSpPr>
          <p:cNvPr id="7" name="Richtungspfeil 29">
            <a:extLst>
              <a:ext uri="{FF2B5EF4-FFF2-40B4-BE49-F238E27FC236}">
                <a16:creationId xmlns:a16="http://schemas.microsoft.com/office/drawing/2014/main" id="{DD637E07-ECE7-62AC-DE04-E7592756F6B4}"/>
              </a:ext>
            </a:extLst>
          </p:cNvPr>
          <p:cNvSpPr/>
          <p:nvPr/>
        </p:nvSpPr>
        <p:spPr bwMode="gray">
          <a:xfrm>
            <a:off x="8075471" y="2954751"/>
            <a:ext cx="3455278" cy="3090996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467">
              <a:solidFill>
                <a:schemeClr val="tx1"/>
              </a:solidFill>
            </a:endParaRPr>
          </a:p>
        </p:txBody>
      </p:sp>
      <p:sp>
        <p:nvSpPr>
          <p:cNvPr id="11" name="02 Textbox 30%">
            <a:extLst>
              <a:ext uri="{FF2B5EF4-FFF2-40B4-BE49-F238E27FC236}">
                <a16:creationId xmlns:a16="http://schemas.microsoft.com/office/drawing/2014/main" id="{601CACCD-0446-63DC-1724-50C90E7CEAB7}"/>
              </a:ext>
            </a:extLst>
          </p:cNvPr>
          <p:cNvSpPr txBox="1"/>
          <p:nvPr/>
        </p:nvSpPr>
        <p:spPr>
          <a:xfrm>
            <a:off x="8155855" y="3432592"/>
            <a:ext cx="3315997" cy="2528674"/>
          </a:xfrm>
          <a:prstGeom prst="rect">
            <a:avLst/>
          </a:prstGeom>
        </p:spPr>
        <p:txBody>
          <a:bodyPr vert="horz" lIns="144000" tIns="0" rIns="144000" bIns="0" rtlCol="0" anchor="t">
            <a:noAutofit/>
          </a:bodyPr>
          <a:lstStyle>
            <a:defPPr>
              <a:defRPr lang="de-DE"/>
            </a:defPPr>
            <a:lvl1pPr marL="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lvl="1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lvl="2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lvl="3" indent="-216000" algn="l" defTabSz="540000" rtl="0" eaLnBrk="1" latinLnBrk="0" hangingPunct="1">
              <a:lnSpc>
                <a:spcPct val="120000"/>
              </a:lnSpc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lvl="1" indent="-215900">
              <a:buClr>
                <a:srgbClr val="1A1A1A"/>
              </a:buClr>
              <a:buFont typeface="Arial"/>
              <a:buChar char="•"/>
            </a:pPr>
            <a:r>
              <a:rPr lang="pl-PL" sz="1400" noProof="1">
                <a:solidFill>
                  <a:srgbClr val="404040"/>
                </a:solidFill>
                <a:ea typeface="+mn-lt"/>
                <a:cs typeface="+mn-lt"/>
              </a:rPr>
              <a:t>działania informacyjne w prasie, internecie oraz OOH</a:t>
            </a:r>
            <a:endParaRPr lang="pl-PL" sz="1400" noProof="1">
              <a:ea typeface="+mn-lt"/>
              <a:cs typeface="+mn-lt"/>
            </a:endParaRPr>
          </a:p>
          <a:p>
            <a:pPr marL="215900" lvl="1" indent="-215900">
              <a:buClr>
                <a:srgbClr val="1A1A1A"/>
              </a:buClr>
              <a:buFont typeface="Arial"/>
              <a:buChar char="•"/>
            </a:pPr>
            <a:r>
              <a:rPr lang="pl-PL" sz="1400" noProof="1">
                <a:solidFill>
                  <a:srgbClr val="404040"/>
                </a:solidFill>
                <a:ea typeface="+mn-lt"/>
                <a:cs typeface="+mn-lt"/>
              </a:rPr>
              <a:t>informacje prasowe na stronach internetowych właściwych dzielnic</a:t>
            </a:r>
            <a:endParaRPr lang="en-US" sz="1400" noProof="1">
              <a:ea typeface="+mn-lt"/>
              <a:cs typeface="+mn-lt"/>
            </a:endParaRPr>
          </a:p>
          <a:p>
            <a:pPr marL="215900" lvl="1" indent="-215900">
              <a:buClr>
                <a:srgbClr val="1A1A1A"/>
              </a:buClr>
              <a:buFont typeface="Arial"/>
              <a:buChar char="•"/>
            </a:pPr>
            <a:r>
              <a:rPr lang="pl-PL" sz="1400" noProof="1">
                <a:solidFill>
                  <a:srgbClr val="404040"/>
                </a:solidFill>
                <a:ea typeface="+mn-lt"/>
                <a:cs typeface="+mn-lt"/>
              </a:rPr>
              <a:t>otwarte zaproszenia na dyżury</a:t>
            </a:r>
            <a:endParaRPr lang="en-US" sz="1400" noProof="1"/>
          </a:p>
          <a:p>
            <a:pPr marL="215900" lvl="1" indent="-215900">
              <a:buFont typeface="Arial"/>
            </a:pPr>
            <a:r>
              <a:rPr lang="pl-PL" sz="1400" noProof="1">
                <a:solidFill>
                  <a:srgbClr val="404040"/>
                </a:solidFill>
                <a:ea typeface="+mn-lt"/>
                <a:cs typeface="+mn-lt"/>
              </a:rPr>
              <a:t>poszerzanie ogólnej wiedzy na temat wagi inwestycji elektroenergetycznych</a:t>
            </a:r>
          </a:p>
          <a:p>
            <a:pPr marL="215900" lvl="1" indent="-215900">
              <a:buFont typeface="Arial"/>
            </a:pPr>
            <a:r>
              <a:rPr lang="pl-PL" sz="1400" noProof="1">
                <a:solidFill>
                  <a:srgbClr val="404040"/>
                </a:solidFill>
              </a:rPr>
              <a:t>transpartentność komunikacji w celu mitygacji napięć i uniknięcia protestów</a:t>
            </a:r>
          </a:p>
        </p:txBody>
      </p:sp>
      <p:sp>
        <p:nvSpPr>
          <p:cNvPr id="12" name="02 Textbox 30%">
            <a:extLst>
              <a:ext uri="{FF2B5EF4-FFF2-40B4-BE49-F238E27FC236}">
                <a16:creationId xmlns:a16="http://schemas.microsoft.com/office/drawing/2014/main" id="{8259E5C2-2923-026F-FF0A-FA75CF2DFFA4}"/>
              </a:ext>
            </a:extLst>
          </p:cNvPr>
          <p:cNvSpPr txBox="1"/>
          <p:nvPr/>
        </p:nvSpPr>
        <p:spPr>
          <a:xfrm>
            <a:off x="8259336" y="3101016"/>
            <a:ext cx="2629258" cy="268983"/>
          </a:xfrm>
          <a:prstGeom prst="rect">
            <a:avLst/>
          </a:prstGeom>
        </p:spPr>
        <p:txBody>
          <a:bodyPr vert="horz" lIns="144000" tIns="0" rIns="144000" bIns="0" rtlCol="0" anchor="t">
            <a:noAutofit/>
          </a:bodyPr>
          <a:lstStyle>
            <a:defPPr>
              <a:defRPr lang="de-DE"/>
            </a:defPPr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600" b="1" noProof="1"/>
              <a:t>Opinia publiczna</a:t>
            </a:r>
            <a:endParaRPr lang="en-US" noProof="1"/>
          </a:p>
        </p:txBody>
      </p:sp>
      <p:sp>
        <p:nvSpPr>
          <p:cNvPr id="13" name="02 Textbox 30%">
            <a:extLst>
              <a:ext uri="{FF2B5EF4-FFF2-40B4-BE49-F238E27FC236}">
                <a16:creationId xmlns:a16="http://schemas.microsoft.com/office/drawing/2014/main" id="{6892DBE8-B7B6-3AB1-5B1F-A7B6A4E0912B}"/>
              </a:ext>
            </a:extLst>
          </p:cNvPr>
          <p:cNvSpPr txBox="1"/>
          <p:nvPr/>
        </p:nvSpPr>
        <p:spPr>
          <a:xfrm>
            <a:off x="4283350" y="3780666"/>
            <a:ext cx="3315998" cy="1945415"/>
          </a:xfrm>
          <a:prstGeom prst="rect">
            <a:avLst/>
          </a:prstGeom>
        </p:spPr>
        <p:txBody>
          <a:bodyPr vert="horz" lIns="144000" tIns="0" rIns="144000" bIns="0" rtlCol="0" anchor="t">
            <a:noAutofit/>
          </a:bodyPr>
          <a:lstStyle>
            <a:defPPr>
              <a:defRPr lang="de-DE"/>
            </a:defPPr>
            <a:lvl1pPr marL="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lvl="1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lvl="2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lvl="3" indent="-216000" algn="l" defTabSz="540000" rtl="0" eaLnBrk="1" latinLnBrk="0" hangingPunct="1">
              <a:lnSpc>
                <a:spcPct val="120000"/>
              </a:lnSpc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har char="•"/>
            </a:pPr>
            <a:r>
              <a:rPr lang="de-DE" sz="1400" noProof="1">
                <a:solidFill>
                  <a:srgbClr val="1A1A1A"/>
                </a:solidFill>
                <a:ea typeface="+mn-lt"/>
                <a:cs typeface="+mn-lt"/>
              </a:rPr>
              <a:t>organizacja spotkań informacyjno-konsultacyjnych</a:t>
            </a:r>
            <a:endParaRPr lang="en-US">
              <a:solidFill>
                <a:srgbClr val="1A1A1A"/>
              </a:solidFill>
              <a:ea typeface="+mn-lt"/>
              <a:cs typeface="+mn-lt"/>
            </a:endParaRPr>
          </a:p>
          <a:p>
            <a:pPr marL="285750" indent="-285750">
              <a:buChar char="•"/>
            </a:pPr>
            <a:r>
              <a:rPr lang="de-DE" sz="1400" noProof="1"/>
              <a:t>dedykowane spotkania dla właścicieli działek</a:t>
            </a:r>
          </a:p>
          <a:p>
            <a:pPr marL="285750" indent="-285750">
              <a:buChar char="•"/>
            </a:pPr>
            <a:r>
              <a:rPr lang="de-DE" sz="1400" noProof="1"/>
              <a:t>zebranie uwag</a:t>
            </a:r>
          </a:p>
          <a:p>
            <a:pPr marL="285750" indent="-285750">
              <a:buChar char="•"/>
            </a:pPr>
            <a:r>
              <a:rPr lang="de-DE" sz="1400" noProof="1"/>
              <a:t>uzgodnienie przebiegu trasy</a:t>
            </a:r>
          </a:p>
          <a:p>
            <a:pPr marL="285750" indent="-285750">
              <a:buChar char="•"/>
            </a:pPr>
            <a:r>
              <a:rPr lang="de-DE" sz="1400" noProof="1"/>
              <a:t>wybór formatu współpracy</a:t>
            </a:r>
          </a:p>
        </p:txBody>
      </p:sp>
      <p:sp>
        <p:nvSpPr>
          <p:cNvPr id="14" name="02 Textbox 30%">
            <a:extLst>
              <a:ext uri="{FF2B5EF4-FFF2-40B4-BE49-F238E27FC236}">
                <a16:creationId xmlns:a16="http://schemas.microsoft.com/office/drawing/2014/main" id="{85900D2A-DB1B-07BD-6B0E-A5EF5F919F65}"/>
              </a:ext>
            </a:extLst>
          </p:cNvPr>
          <p:cNvSpPr txBox="1"/>
          <p:nvPr/>
        </p:nvSpPr>
        <p:spPr>
          <a:xfrm>
            <a:off x="4283350" y="3101016"/>
            <a:ext cx="3315999" cy="334834"/>
          </a:xfrm>
          <a:prstGeom prst="rect">
            <a:avLst/>
          </a:prstGeom>
        </p:spPr>
        <p:txBody>
          <a:bodyPr vert="horz" lIns="144000" tIns="0" rIns="144000" bIns="0" rtlCol="0" anchor="t">
            <a:noAutofit/>
          </a:bodyPr>
          <a:lstStyle>
            <a:defPPr>
              <a:defRPr lang="de-DE"/>
            </a:defPPr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600" b="1" noProof="1"/>
              <a:t>Właściciele działek i lokalne społeczności</a:t>
            </a:r>
            <a:endParaRPr lang="en-US" noProof="1"/>
          </a:p>
        </p:txBody>
      </p:sp>
      <p:sp>
        <p:nvSpPr>
          <p:cNvPr id="15" name="02 Textbox 30%">
            <a:extLst>
              <a:ext uri="{FF2B5EF4-FFF2-40B4-BE49-F238E27FC236}">
                <a16:creationId xmlns:a16="http://schemas.microsoft.com/office/drawing/2014/main" id="{A3448F6A-2AD8-D702-65DC-18476842085E}"/>
              </a:ext>
            </a:extLst>
          </p:cNvPr>
          <p:cNvSpPr txBox="1"/>
          <p:nvPr/>
        </p:nvSpPr>
        <p:spPr>
          <a:xfrm>
            <a:off x="809259" y="3761853"/>
            <a:ext cx="3091108" cy="2198307"/>
          </a:xfrm>
          <a:prstGeom prst="rect">
            <a:avLst/>
          </a:prstGeom>
        </p:spPr>
        <p:txBody>
          <a:bodyPr vert="horz" lIns="144000" tIns="0" rIns="144000" bIns="0" rtlCol="0" anchor="t">
            <a:noAutofit/>
          </a:bodyPr>
          <a:lstStyle>
            <a:defPPr>
              <a:defRPr lang="de-DE"/>
            </a:defPPr>
            <a:lvl1pPr marL="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lvl="1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lvl="2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lvl="3" indent="-216000" algn="l" defTabSz="540000" rtl="0" eaLnBrk="1" latinLnBrk="0" hangingPunct="1">
              <a:lnSpc>
                <a:spcPct val="120000"/>
              </a:lnSpc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540000" rtl="0" eaLnBrk="1" latinLnBrk="0" hangingPunct="1">
              <a:lnSpc>
                <a:spcPct val="120000"/>
              </a:lnSpc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har char="•"/>
            </a:pPr>
            <a:r>
              <a:rPr lang="de-DE" sz="1400" noProof="1"/>
              <a:t>spotkania informacyjne i konsultacyjne z przedstawicielami Dzielnic i Gmin</a:t>
            </a:r>
            <a:endParaRPr lang="en-US"/>
          </a:p>
          <a:p>
            <a:pPr marL="215900" lvl="1" indent="-215900"/>
            <a:r>
              <a:rPr lang="de-DE" sz="1400" noProof="1"/>
              <a:t>bieżący kontakt z Wydziałem Infrastruktury i Rolnictwa oraz Wydziałem Skarbu Państwa</a:t>
            </a:r>
          </a:p>
        </p:txBody>
      </p:sp>
      <p:sp>
        <p:nvSpPr>
          <p:cNvPr id="16" name="02 Textbox 30%">
            <a:extLst>
              <a:ext uri="{FF2B5EF4-FFF2-40B4-BE49-F238E27FC236}">
                <a16:creationId xmlns:a16="http://schemas.microsoft.com/office/drawing/2014/main" id="{BEBE7EF4-C866-978F-C964-0B4DA456E05E}"/>
              </a:ext>
            </a:extLst>
          </p:cNvPr>
          <p:cNvSpPr txBox="1"/>
          <p:nvPr/>
        </p:nvSpPr>
        <p:spPr>
          <a:xfrm>
            <a:off x="809259" y="3101017"/>
            <a:ext cx="3212517" cy="268983"/>
          </a:xfrm>
          <a:prstGeom prst="rect">
            <a:avLst/>
          </a:prstGeom>
        </p:spPr>
        <p:txBody>
          <a:bodyPr vert="horz" lIns="144000" tIns="0" rIns="144000" bIns="0" rtlCol="0" anchor="t">
            <a:noAutofit/>
          </a:bodyPr>
          <a:lstStyle>
            <a:defPPr>
              <a:defRPr lang="de-DE"/>
            </a:defPPr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600" b="1" noProof="1"/>
              <a:t>Administracja publiczna</a:t>
            </a:r>
            <a:r>
              <a:rPr lang="de-DE" sz="1600" b="1" noProof="1"/>
              <a:t> </a:t>
            </a:r>
          </a:p>
        </p:txBody>
      </p:sp>
      <p:sp>
        <p:nvSpPr>
          <p:cNvPr id="17" name="Foliennummernplatzhalter 22">
            <a:extLst>
              <a:ext uri="{FF2B5EF4-FFF2-40B4-BE49-F238E27FC236}">
                <a16:creationId xmlns:a16="http://schemas.microsoft.com/office/drawing/2014/main" id="{EB3644C6-5A5F-2E67-BA1A-02759C3F51DC}"/>
              </a:ext>
            </a:extLst>
          </p:cNvPr>
          <p:cNvSpPr>
            <a:spLocks noGrp="1"/>
          </p:cNvSpPr>
          <p:nvPr/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FFFE70-FC19-4A94-9D10-0B3C8E890CB2}" type="slidenum">
              <a:rPr lang="de-DE" noProof="0" smtClean="0"/>
              <a:pPr/>
              <a:t>16</a:t>
            </a:fld>
            <a:endParaRPr lang="de-DE" noProof="0"/>
          </a:p>
        </p:txBody>
      </p:sp>
      <p:pic>
        <p:nvPicPr>
          <p:cNvPr id="19" name="Grafik 30" descr="Ein Bild, das Person, Menschliches Gesicht, Kleidung, Lange Haare enthält.&#10;&#10;Automatisch generierte Beschreibung">
            <a:extLst>
              <a:ext uri="{FF2B5EF4-FFF2-40B4-BE49-F238E27FC236}">
                <a16:creationId xmlns:a16="http://schemas.microsoft.com/office/drawing/2014/main" id="{C58D8521-80BC-5144-82D1-FF5DDC976E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21" r="788" b="14656"/>
          <a:stretch/>
        </p:blipFill>
        <p:spPr>
          <a:xfrm>
            <a:off x="4284857" y="1439664"/>
            <a:ext cx="2605025" cy="1483200"/>
          </a:xfrm>
          <a:prstGeom prst="rect">
            <a:avLst/>
          </a:prstGeom>
        </p:spPr>
      </p:pic>
      <p:pic>
        <p:nvPicPr>
          <p:cNvPr id="21" name="Grafik 36" descr="Ein Bild, das Person, Menschliches Gesicht, Kleidung, Mann enthält.&#10;&#10;Automatisch generierte Beschreibung">
            <a:extLst>
              <a:ext uri="{FF2B5EF4-FFF2-40B4-BE49-F238E27FC236}">
                <a16:creationId xmlns:a16="http://schemas.microsoft.com/office/drawing/2014/main" id="{DD5FE07C-D11D-A8E5-A66C-EFAD7A8A42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31" t="3934" r="3359" b="24571"/>
          <a:stretch/>
        </p:blipFill>
        <p:spPr>
          <a:xfrm>
            <a:off x="8079357" y="1467883"/>
            <a:ext cx="2629945" cy="1483201"/>
          </a:xfrm>
          <a:prstGeom prst="rect">
            <a:avLst/>
          </a:prstGeom>
        </p:spPr>
      </p:pic>
      <p:pic>
        <p:nvPicPr>
          <p:cNvPr id="22" name="Grafik 39" descr="Ein Bild, das Kleidung, Person, Menschliches Gesicht, Mann enthält.&#10;&#10;Automatisch generierte Beschreibung">
            <a:extLst>
              <a:ext uri="{FF2B5EF4-FFF2-40B4-BE49-F238E27FC236}">
                <a16:creationId xmlns:a16="http://schemas.microsoft.com/office/drawing/2014/main" id="{72B0ECEC-25B2-7A96-523F-B45BDEF500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6" t="11535" r="13386" b="17734"/>
          <a:stretch/>
        </p:blipFill>
        <p:spPr>
          <a:xfrm>
            <a:off x="804846" y="1467884"/>
            <a:ext cx="2611878" cy="1483200"/>
          </a:xfrm>
          <a:prstGeom prst="rect">
            <a:avLst/>
          </a:prstGeom>
        </p:spPr>
      </p:pic>
      <p:sp>
        <p:nvSpPr>
          <p:cNvPr id="24" name="Symbol zastępczy stopki 1">
            <a:extLst>
              <a:ext uri="{FF2B5EF4-FFF2-40B4-BE49-F238E27FC236}">
                <a16:creationId xmlns:a16="http://schemas.microsoft.com/office/drawing/2014/main" id="{A3119D52-FE7F-1656-7760-1A343B878C3B}"/>
              </a:ext>
            </a:extLst>
          </p:cNvPr>
          <p:cNvSpPr txBox="1">
            <a:spLocks/>
          </p:cNvSpPr>
          <p:nvPr/>
        </p:nvSpPr>
        <p:spPr bwMode="gray">
          <a:xfrm>
            <a:off x="606782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39439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5B6186-D5D5-5D52-314C-B8B67814B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FCBE1B-9D3C-2F1F-52A2-DD94A21B0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35496-FC3F-4BE2-84CA-615D9930646E}" type="slidenum">
              <a:rPr lang="en-US" smtClean="0"/>
              <a:t>17</a:t>
            </a:fld>
            <a:endParaRPr lang="en-US"/>
          </a:p>
        </p:txBody>
      </p:sp>
      <p:sp>
        <p:nvSpPr>
          <p:cNvPr id="17" name="Foliennummernplatzhalter 22">
            <a:extLst>
              <a:ext uri="{FF2B5EF4-FFF2-40B4-BE49-F238E27FC236}">
                <a16:creationId xmlns:a16="http://schemas.microsoft.com/office/drawing/2014/main" id="{2352EA80-1427-E9EC-1829-160A5074DEEE}"/>
              </a:ext>
            </a:extLst>
          </p:cNvPr>
          <p:cNvSpPr>
            <a:spLocks noGrp="1"/>
          </p:cNvSpPr>
          <p:nvPr/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FFFE70-FC19-4A94-9D10-0B3C8E890CB2}" type="slidenum">
              <a:rPr lang="de-DE" noProof="0" smtClean="0"/>
              <a:pPr/>
              <a:t>17</a:t>
            </a:fld>
            <a:endParaRPr lang="de-DE" noProof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1573068A-3B1B-0F36-83FF-03704ACAAD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4048" y="512763"/>
            <a:ext cx="4186488" cy="5836304"/>
          </a:xfrm>
          <a:prstGeom prst="rect">
            <a:avLst/>
          </a:prstGeom>
        </p:spPr>
      </p:pic>
      <p:sp>
        <p:nvSpPr>
          <p:cNvPr id="9" name="Symbol zastępczy stopki 1">
            <a:extLst>
              <a:ext uri="{FF2B5EF4-FFF2-40B4-BE49-F238E27FC236}">
                <a16:creationId xmlns:a16="http://schemas.microsoft.com/office/drawing/2014/main" id="{04605F0B-B492-DBFA-7135-3CBF4482D235}"/>
              </a:ext>
            </a:extLst>
          </p:cNvPr>
          <p:cNvSpPr txBox="1">
            <a:spLocks/>
          </p:cNvSpPr>
          <p:nvPr/>
        </p:nvSpPr>
        <p:spPr bwMode="gray">
          <a:xfrm>
            <a:off x="606782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</p:txBody>
      </p:sp>
      <p:pic>
        <p:nvPicPr>
          <p:cNvPr id="15" name="Obraz 14">
            <a:extLst>
              <a:ext uri="{FF2B5EF4-FFF2-40B4-BE49-F238E27FC236}">
                <a16:creationId xmlns:a16="http://schemas.microsoft.com/office/drawing/2014/main" id="{E7409A1F-7533-2F47-3798-FDA2B567C0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7247" y="512763"/>
            <a:ext cx="4052116" cy="583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8974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6A8004-83EE-F298-B5C4-4D66178085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858433-5087-A100-DE71-65CE47DE0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35496-FC3F-4BE2-84CA-615D9930646E}" type="slidenum">
              <a:rPr lang="en-US" smtClean="0"/>
              <a:t>18</a:t>
            </a:fld>
            <a:endParaRPr lang="en-US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2021E730-97CD-9CDA-75EE-61C187CA2A5D}"/>
              </a:ext>
            </a:extLst>
          </p:cNvPr>
          <p:cNvSpPr>
            <a:spLocks noGrp="1"/>
          </p:cNvSpPr>
          <p:nvPr/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noProof="1"/>
              <a:t>Dyżury informacyjne 2025</a:t>
            </a:r>
            <a:endParaRPr lang="en-US" noProof="1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E2BFAAED-8AFB-6FF6-BB6F-257902E4A9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5258684"/>
              </p:ext>
            </p:extLst>
          </p:nvPr>
        </p:nvGraphicFramePr>
        <p:xfrm>
          <a:off x="2304954" y="319532"/>
          <a:ext cx="6177147" cy="40623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Foliennummernplatzhalter 22">
            <a:extLst>
              <a:ext uri="{FF2B5EF4-FFF2-40B4-BE49-F238E27FC236}">
                <a16:creationId xmlns:a16="http://schemas.microsoft.com/office/drawing/2014/main" id="{1DA96D35-561D-F239-9731-3DE5E8B878A2}"/>
              </a:ext>
            </a:extLst>
          </p:cNvPr>
          <p:cNvSpPr>
            <a:spLocks noGrp="1"/>
          </p:cNvSpPr>
          <p:nvPr/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FFFE70-FC19-4A94-9D10-0B3C8E890CB2}" type="slidenum">
              <a:rPr lang="de-DE" noProof="0" smtClean="0"/>
              <a:pPr/>
              <a:t>18</a:t>
            </a:fld>
            <a:endParaRPr lang="de-DE" noProof="0"/>
          </a:p>
        </p:txBody>
      </p:sp>
      <p:pic>
        <p:nvPicPr>
          <p:cNvPr id="22" name="Grafik 39">
            <a:extLst>
              <a:ext uri="{FF2B5EF4-FFF2-40B4-BE49-F238E27FC236}">
                <a16:creationId xmlns:a16="http://schemas.microsoft.com/office/drawing/2014/main" id="{98479390-0591-9C9C-4157-0AAB85ABF3B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697" b="28697"/>
          <a:stretch/>
        </p:blipFill>
        <p:spPr>
          <a:xfrm>
            <a:off x="712904" y="3627747"/>
            <a:ext cx="2611878" cy="1483200"/>
          </a:xfrm>
          <a:prstGeom prst="rect">
            <a:avLst/>
          </a:prstGeom>
        </p:spPr>
      </p:pic>
      <p:sp>
        <p:nvSpPr>
          <p:cNvPr id="9" name="Symbol zastępczy stopki 1">
            <a:extLst>
              <a:ext uri="{FF2B5EF4-FFF2-40B4-BE49-F238E27FC236}">
                <a16:creationId xmlns:a16="http://schemas.microsoft.com/office/drawing/2014/main" id="{E7C09457-5F95-3A97-E01A-10A1ECD4543D}"/>
              </a:ext>
            </a:extLst>
          </p:cNvPr>
          <p:cNvSpPr txBox="1">
            <a:spLocks/>
          </p:cNvSpPr>
          <p:nvPr/>
        </p:nvSpPr>
        <p:spPr bwMode="gray">
          <a:xfrm>
            <a:off x="606782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</p:txBody>
      </p:sp>
      <p:pic>
        <p:nvPicPr>
          <p:cNvPr id="10" name="Grafik 39">
            <a:extLst>
              <a:ext uri="{FF2B5EF4-FFF2-40B4-BE49-F238E27FC236}">
                <a16:creationId xmlns:a16="http://schemas.microsoft.com/office/drawing/2014/main" id="{BD14ABD4-33B7-CEC7-E8EB-9C4B4CF7C5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42" b="12142"/>
          <a:stretch/>
        </p:blipFill>
        <p:spPr>
          <a:xfrm>
            <a:off x="6235158" y="3640321"/>
            <a:ext cx="2611878" cy="1483200"/>
          </a:xfrm>
          <a:prstGeom prst="rect">
            <a:avLst/>
          </a:prstGeom>
        </p:spPr>
      </p:pic>
      <p:pic>
        <p:nvPicPr>
          <p:cNvPr id="11" name="Grafik 39">
            <a:extLst>
              <a:ext uri="{FF2B5EF4-FFF2-40B4-BE49-F238E27FC236}">
                <a16:creationId xmlns:a16="http://schemas.microsoft.com/office/drawing/2014/main" id="{E92C4CD8-0ACC-74A2-E0B5-EBF329A9E86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697" b="28697"/>
          <a:stretch/>
        </p:blipFill>
        <p:spPr>
          <a:xfrm>
            <a:off x="9060018" y="4756425"/>
            <a:ext cx="2611878" cy="1483200"/>
          </a:xfrm>
          <a:prstGeom prst="rect">
            <a:avLst/>
          </a:prstGeom>
        </p:spPr>
      </p:pic>
      <p:pic>
        <p:nvPicPr>
          <p:cNvPr id="12" name="Grafik 39">
            <a:extLst>
              <a:ext uri="{FF2B5EF4-FFF2-40B4-BE49-F238E27FC236}">
                <a16:creationId xmlns:a16="http://schemas.microsoft.com/office/drawing/2014/main" id="{DD464271-22FD-FC0B-99A9-189FAB274C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46" b="12146"/>
          <a:stretch/>
        </p:blipFill>
        <p:spPr>
          <a:xfrm rot="5400000">
            <a:off x="8409877" y="2230724"/>
            <a:ext cx="2954337" cy="1677671"/>
          </a:xfrm>
          <a:prstGeom prst="rect">
            <a:avLst/>
          </a:prstGeom>
        </p:spPr>
      </p:pic>
      <p:pic>
        <p:nvPicPr>
          <p:cNvPr id="18" name="Grafik 39">
            <a:extLst>
              <a:ext uri="{FF2B5EF4-FFF2-40B4-BE49-F238E27FC236}">
                <a16:creationId xmlns:a16="http://schemas.microsoft.com/office/drawing/2014/main" id="{602902B8-988F-1EAB-F850-C5C66E49724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03" r="28703"/>
          <a:stretch/>
        </p:blipFill>
        <p:spPr>
          <a:xfrm rot="5400000">
            <a:off x="3474031" y="3627747"/>
            <a:ext cx="2611878" cy="2611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3623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CE1955-BD50-69F8-9A89-3E220D4D3E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FE7DA0-5D2A-5776-4A3F-7D9A8BBD4C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00" y="6540003"/>
            <a:ext cx="5436000" cy="138499"/>
          </a:xfrm>
        </p:spPr>
        <p:txBody>
          <a:bodyPr/>
          <a:lstStyle/>
          <a:p>
            <a:r>
              <a:rPr lang="pl-PL" dirty="0"/>
              <a:t>Specustawa, październik 2025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A1527F-9A0F-B190-240B-01CDE808E5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1999" y="6526212"/>
            <a:ext cx="360001" cy="138499"/>
          </a:xfrm>
        </p:spPr>
        <p:txBody>
          <a:bodyPr/>
          <a:lstStyle/>
          <a:p>
            <a:fld id="{01FFFE70-FC19-4A94-9D10-0B3C8E890CB2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1AB80B-F9FC-D4ED-E314-A737B6352A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9" y="512763"/>
            <a:ext cx="4968300" cy="886397"/>
          </a:xfrm>
        </p:spPr>
        <p:txBody>
          <a:bodyPr/>
          <a:lstStyle/>
          <a:p>
            <a:r>
              <a:rPr lang="pl-PL" dirty="0"/>
              <a:t>Decyzja lokalizacyjna</a:t>
            </a:r>
            <a:br>
              <a:rPr lang="pl-PL" dirty="0"/>
            </a:br>
            <a:r>
              <a:rPr lang="pl-PL" sz="2400" dirty="0"/>
              <a:t>planowane inwestycje - przykłady</a:t>
            </a:r>
            <a:endParaRPr lang="en-GB" sz="2400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83B4D9D3-AF77-13B7-C1CD-E0BA3ED93D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75388" y="651261"/>
            <a:ext cx="5400675" cy="5400675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CDC30130-52F0-F087-7797-D4FA101BF2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425" y="1851597"/>
            <a:ext cx="5616001" cy="352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734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41708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DD7965F-2E9C-0A9D-037E-4285E8EAB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DD451CC-6384-7AC0-FE2C-999F25587A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512762"/>
            <a:ext cx="10201275" cy="1732896"/>
          </a:xfrm>
        </p:spPr>
        <p:txBody>
          <a:bodyPr/>
          <a:lstStyle/>
          <a:p>
            <a:r>
              <a:rPr lang="pl-PL" sz="6000" noProof="1">
                <a:latin typeface="EON Brix Sans Black"/>
              </a:rPr>
              <a:t>Dlaczego?</a:t>
            </a:r>
            <a:endParaRPr lang="en-GB" sz="3600" noProof="1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22AA6E-68E1-97AE-CDA4-2D380F2A7A5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4294967295"/>
          </p:nvPr>
        </p:nvSpPr>
        <p:spPr>
          <a:xfrm>
            <a:off x="9732963" y="5765800"/>
            <a:ext cx="1979612" cy="579438"/>
          </a:xfrm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3B256D8A-762D-9E22-ACC3-AD9763D8FB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Szablon PowerPoint Stoen Operator</a:t>
            </a:r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14F11E3D-0A2C-2B4F-97A6-7949BE567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2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238940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stopki 1">
            <a:extLst>
              <a:ext uri="{FF2B5EF4-FFF2-40B4-BE49-F238E27FC236}">
                <a16:creationId xmlns:a16="http://schemas.microsoft.com/office/drawing/2014/main" id="{5C4D575D-2EC1-5D93-7EB3-3C5C611D0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dirty="0"/>
              <a:t>Specustawa, październik 2025</a:t>
            </a:r>
            <a:endParaRPr lang="en-GB" dirty="0"/>
          </a:p>
          <a:p>
            <a:endParaRPr lang="en-US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D014C48F-85B2-9302-F0AA-D66C80965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35496-FC3F-4BE2-84CA-615D9930646E}" type="slidenum">
              <a:rPr lang="en-US" smtClean="0"/>
              <a:t>20</a:t>
            </a:fld>
            <a:endParaRPr lang="en-US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E505B542-8169-AD79-BA8B-EB26BF699D8B}"/>
              </a:ext>
            </a:extLst>
          </p:cNvPr>
          <p:cNvSpPr txBox="1">
            <a:spLocks/>
          </p:cNvSpPr>
          <p:nvPr/>
        </p:nvSpPr>
        <p:spPr bwMode="gray"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1FFFE70-FC19-4A94-9D10-0B3C8E890CB2}" type="slidenum">
              <a:rPr lang="de-DE" sz="100" smtClean="0">
                <a:noFill/>
                <a:latin typeface="EON Brix Sans"/>
              </a:rPr>
              <a:pPr>
                <a:defRPr/>
              </a:pPr>
              <a:t>20</a:t>
            </a:fld>
            <a:endParaRPr lang="de-DE" sz="100">
              <a:noFill/>
              <a:latin typeface="EON Brix Sans"/>
            </a:endParaRPr>
          </a:p>
        </p:txBody>
      </p:sp>
      <p:sp>
        <p:nvSpPr>
          <p:cNvPr id="9" name="Fußzeilenplatzhalter 5">
            <a:extLst>
              <a:ext uri="{FF2B5EF4-FFF2-40B4-BE49-F238E27FC236}">
                <a16:creationId xmlns:a16="http://schemas.microsoft.com/office/drawing/2014/main" id="{709694E3-039F-9C8B-32AB-C076A2421308}"/>
              </a:ext>
            </a:extLst>
          </p:cNvPr>
          <p:cNvSpPr txBox="1">
            <a:spLocks/>
          </p:cNvSpPr>
          <p:nvPr/>
        </p:nvSpPr>
        <p:spPr bwMode="gray"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 sz="100">
                <a:noFill/>
                <a:latin typeface="EON Brix Sans"/>
              </a:rPr>
              <a:t>Biblioteka slajdów Stoen Operator</a:t>
            </a:r>
          </a:p>
        </p:txBody>
      </p:sp>
      <p:pic>
        <p:nvPicPr>
          <p:cNvPr id="13" name="Obraz 12" descr="Obraz zawierający tekst, Czcionka, Grafika, logo&#10;&#10;Zawartość wygenerowana przez AI może być niepoprawna.">
            <a:extLst>
              <a:ext uri="{FF2B5EF4-FFF2-40B4-BE49-F238E27FC236}">
                <a16:creationId xmlns:a16="http://schemas.microsoft.com/office/drawing/2014/main" id="{F101E324-A046-298A-A084-6240AE610F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9730" y="1093500"/>
            <a:ext cx="2952269" cy="442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2458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073661-1EC0-9ADD-B705-5D574DC8EA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006F9FA6-47DF-9C14-02B6-F2C758E72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35496-FC3F-4BE2-84CA-615D9930646E}" type="slidenum">
              <a:rPr lang="en-US" smtClean="0"/>
              <a:t>3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1A7D88D-0A33-BC5D-A8C9-8B18F9308379}"/>
              </a:ext>
            </a:extLst>
          </p:cNvPr>
          <p:cNvSpPr>
            <a:spLocks noGrp="1"/>
          </p:cNvSpPr>
          <p:nvPr/>
        </p:nvSpPr>
        <p:spPr bwMode="gray">
          <a:xfrm>
            <a:off x="997372" y="2897989"/>
            <a:ext cx="10354627" cy="75722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sz="6000" noProof="1">
                <a:solidFill>
                  <a:schemeClr val="accent1"/>
                </a:solidFill>
              </a:rPr>
              <a:t>Wzrost zapotrzebowania na moc</a:t>
            </a:r>
            <a:endParaRPr lang="en-US" sz="6000" dirty="0">
              <a:solidFill>
                <a:schemeClr val="accent1"/>
              </a:solidFill>
            </a:endParaRPr>
          </a:p>
        </p:txBody>
      </p:sp>
      <p:sp>
        <p:nvSpPr>
          <p:cNvPr id="5" name="Symbol zastępczy stopki 1">
            <a:extLst>
              <a:ext uri="{FF2B5EF4-FFF2-40B4-BE49-F238E27FC236}">
                <a16:creationId xmlns:a16="http://schemas.microsoft.com/office/drawing/2014/main" id="{ED2A8979-42BB-6D33-0C02-1BA92AA9326A}"/>
              </a:ext>
            </a:extLst>
          </p:cNvPr>
          <p:cNvSpPr txBox="1">
            <a:spLocks/>
          </p:cNvSpPr>
          <p:nvPr/>
        </p:nvSpPr>
        <p:spPr bwMode="gray">
          <a:xfrm>
            <a:off x="606782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  <a:p>
            <a:endParaRPr lang="en-US" noProof="1"/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5E23E68F-07A0-A9D6-1E4E-CB1669AF38E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28600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65604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0ED39A-7221-200F-CCFB-D356427F1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39750FBB-326E-8199-59C0-8E5D24712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35496-FC3F-4BE2-84CA-615D9930646E}" type="slidenum">
              <a:rPr lang="en-US" smtClean="0"/>
              <a:t>4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B4E734B-AC56-0789-C5B0-632E0BC00927}"/>
              </a:ext>
            </a:extLst>
          </p:cNvPr>
          <p:cNvSpPr>
            <a:spLocks noGrp="1"/>
          </p:cNvSpPr>
          <p:nvPr/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noProof="1">
                <a:solidFill>
                  <a:schemeClr val="accent1"/>
                </a:solidFill>
              </a:rPr>
              <a:t>Wzrost zapotrzebowania na moc</a:t>
            </a:r>
            <a:endParaRPr lang="en-US" dirty="0">
              <a:solidFill>
                <a:schemeClr val="accent1"/>
              </a:solidFill>
            </a:endParaRPr>
          </a:p>
          <a:p>
            <a:endParaRPr lang="pl-PL" noProof="1">
              <a:solidFill>
                <a:schemeClr val="accent1"/>
              </a:solidFill>
            </a:endParaRPr>
          </a:p>
        </p:txBody>
      </p:sp>
      <p:sp>
        <p:nvSpPr>
          <p:cNvPr id="5" name="Symbol zastępczy stopki 1">
            <a:extLst>
              <a:ext uri="{FF2B5EF4-FFF2-40B4-BE49-F238E27FC236}">
                <a16:creationId xmlns:a16="http://schemas.microsoft.com/office/drawing/2014/main" id="{2A380738-68FE-CC11-2DE7-4F9FF37074B0}"/>
              </a:ext>
            </a:extLst>
          </p:cNvPr>
          <p:cNvSpPr txBox="1">
            <a:spLocks/>
          </p:cNvSpPr>
          <p:nvPr/>
        </p:nvSpPr>
        <p:spPr bwMode="gray">
          <a:xfrm>
            <a:off x="606782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  <a:p>
            <a:endParaRPr lang="en-US" noProof="1"/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2AFE6B7A-3C9D-CAE0-F9A6-FECECAD85FC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28600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2" name="Grafika 26">
            <a:extLst>
              <a:ext uri="{FF2B5EF4-FFF2-40B4-BE49-F238E27FC236}">
                <a16:creationId xmlns:a16="http://schemas.microsoft.com/office/drawing/2014/main" id="{CC364350-AA25-6185-0D51-244C6F134A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86334" y="1210286"/>
            <a:ext cx="5337790" cy="4942398"/>
          </a:xfrm>
          <a:prstGeom prst="rect">
            <a:avLst/>
          </a:prstGeom>
        </p:spPr>
      </p:pic>
      <p:sp>
        <p:nvSpPr>
          <p:cNvPr id="6" name="Text Box 44">
            <a:extLst>
              <a:ext uri="{FF2B5EF4-FFF2-40B4-BE49-F238E27FC236}">
                <a16:creationId xmlns:a16="http://schemas.microsoft.com/office/drawing/2014/main" id="{6395D221-3023-AA82-38C7-86A45DE4BAA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263247" y="3330979"/>
            <a:ext cx="936978" cy="3070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67"/>
              </a:lnSpc>
            </a:pPr>
            <a:r>
              <a:rPr lang="pl-PL" sz="1400">
                <a:solidFill>
                  <a:srgbClr val="000000"/>
                </a:solidFill>
              </a:rPr>
              <a:t>Warszawa</a:t>
            </a: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8" name="Ellipse 63">
            <a:extLst>
              <a:ext uri="{FF2B5EF4-FFF2-40B4-BE49-F238E27FC236}">
                <a16:creationId xmlns:a16="http://schemas.microsoft.com/office/drawing/2014/main" id="{6EE6336E-1EC8-C136-84DE-55FD5E596D65}"/>
              </a:ext>
            </a:extLst>
          </p:cNvPr>
          <p:cNvSpPr/>
          <p:nvPr/>
        </p:nvSpPr>
        <p:spPr bwMode="gray">
          <a:xfrm rot="6060000">
            <a:off x="10098019" y="3446164"/>
            <a:ext cx="74607" cy="74606"/>
          </a:xfrm>
          <a:prstGeom prst="ellipse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de-DE" sz="1400">
              <a:ln w="9525"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4C102E8-FF59-9C7F-C189-969423EEE1AB}"/>
              </a:ext>
            </a:extLst>
          </p:cNvPr>
          <p:cNvGraphicFramePr>
            <a:graphicFrameLocks noGrp="1"/>
          </p:cNvGraphicFramePr>
          <p:nvPr/>
        </p:nvGraphicFramePr>
        <p:xfrm>
          <a:off x="605692" y="1006230"/>
          <a:ext cx="5550738" cy="535899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550738">
                  <a:extLst>
                    <a:ext uri="{9D8B030D-6E8A-4147-A177-3AD203B41FA5}">
                      <a16:colId xmlns:a16="http://schemas.microsoft.com/office/drawing/2014/main" val="1982376513"/>
                    </a:ext>
                  </a:extLst>
                </a:gridCol>
              </a:tblGrid>
              <a:tr h="491634">
                <a:tc>
                  <a:txBody>
                    <a:bodyPr/>
                    <a:lstStyle/>
                    <a:p>
                      <a:pPr lvl="0">
                        <a:lnSpc>
                          <a:spcPts val="1575"/>
                        </a:lnSpc>
                        <a:buNone/>
                      </a:pPr>
                      <a:r>
                        <a:rPr lang="de-DE" sz="1600" b="1" noProof="1">
                          <a:solidFill>
                            <a:srgbClr val="EA1B0A"/>
                          </a:solidFill>
                          <a:effectLst/>
                          <a:latin typeface="EON Brix Sans" panose="020B0500000000000000"/>
                        </a:rPr>
                        <a:t>aglomeracja warszawska</a:t>
                      </a:r>
                      <a:endParaRPr lang="en-US" noProof="1"/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858514"/>
                  </a:ext>
                </a:extLst>
              </a:tr>
              <a:tr h="1430720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noProof="1">
                        <a:effectLst/>
                        <a:latin typeface="EON Brix Sans"/>
                      </a:endParaRPr>
                    </a:p>
                    <a:p>
                      <a:pPr marL="342900" lvl="0" indent="-34290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systematyczny </a:t>
                      </a:r>
                      <a:r>
                        <a:rPr lang="de-DE" sz="1400" b="1" noProof="1">
                          <a:effectLst/>
                          <a:latin typeface="EON Brix Sans"/>
                        </a:rPr>
                        <a:t>wzrost zapotrzebowania na moc</a:t>
                      </a:r>
                      <a:r>
                        <a:rPr lang="de-DE" sz="1400" noProof="1">
                          <a:effectLst/>
                          <a:latin typeface="EON Brix Sans"/>
                        </a:rPr>
                        <a:t> w aglomeracji warszawskiej</a:t>
                      </a:r>
                      <a:endParaRPr lang="de-DE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trendy na rynku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dyrektywy unijne z wpływem a zapotrzebowanie na energię elektryczną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współpraca z m.st. Warszawa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potrzeby klientów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dirty="0">
                        <a:effectLst/>
                        <a:latin typeface="EON Brix Sans" panose="020B0500000000000000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9271630"/>
                  </a:ext>
                </a:extLst>
              </a:tr>
              <a:tr h="1087820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noProof="1">
                        <a:effectLst/>
                        <a:latin typeface="EON Brix Sans"/>
                      </a:endParaRPr>
                    </a:p>
                    <a:p>
                      <a:pPr marL="342900" lvl="0" indent="-34290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założenia Biura Infrastruktury Urzędu Miasta </a:t>
                      </a:r>
                      <a:r>
                        <a:rPr lang="pl-PL" sz="1400" noProof="1">
                          <a:effectLst/>
                          <a:latin typeface="EON Brix Sans"/>
                        </a:rPr>
                        <a:t>- </a:t>
                      </a:r>
                      <a:r>
                        <a:rPr lang="pl-PL" sz="1400" b="1" noProof="1">
                          <a:effectLst/>
                          <a:latin typeface="EON Brix Sans"/>
                        </a:rPr>
                        <a:t>p</a:t>
                      </a:r>
                      <a:r>
                        <a:rPr lang="de-DE" sz="1400" b="1" noProof="1">
                          <a:effectLst/>
                          <a:latin typeface="EON Brix Sans"/>
                        </a:rPr>
                        <a:t>lan </a:t>
                      </a:r>
                      <a:r>
                        <a:rPr lang="pl-PL" sz="1400" b="1" noProof="1">
                          <a:effectLst/>
                          <a:latin typeface="EON Brix Sans"/>
                        </a:rPr>
                        <a:t>z</a:t>
                      </a:r>
                      <a:r>
                        <a:rPr lang="de-DE" sz="1400" b="1" noProof="1">
                          <a:effectLst/>
                          <a:latin typeface="EON Brix Sans"/>
                        </a:rPr>
                        <a:t>aopatrzenia Warszawy w energię</a:t>
                      </a:r>
                      <a:r>
                        <a:rPr lang="pl-PL" sz="1400" b="1" noProof="1">
                          <a:effectLst/>
                          <a:latin typeface="EON Brix Sans"/>
                        </a:rPr>
                        <a:t> elektryczną</a:t>
                      </a:r>
                      <a:endParaRPr lang="de-DE" b="1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w horyzoncie 2040 - 2050 moc szczytowa miasta w warunkach normalnych zimowych może osiągnąć około 6 GW (cztery razy więcej niż dzisiaj)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dirty="0">
                        <a:effectLst/>
                        <a:latin typeface="EON Brix Sans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956033"/>
                  </a:ext>
                </a:extLst>
              </a:tr>
              <a:tr h="959286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b="0" i="0" u="none" strike="noStrike" noProof="1">
                          <a:effectLst/>
                        </a:rPr>
                        <a:t>plany MZA dotyczące elektryfikacji floty autobusów w Warszawi</a:t>
                      </a:r>
                      <a:endParaRPr lang="de-DE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b="0" i="0" u="none" strike="noStrike" noProof="1">
                          <a:effectLst/>
                        </a:rPr>
                        <a:t>średnio rocznie ok. 80 - 100 nowych autobusów elektrycznych, docelowo ok. 1200 autobusów</a:t>
                      </a:r>
                      <a:endParaRPr lang="de-DE" noProof="1">
                        <a:effectLst/>
                        <a:latin typeface="Arial" panose="020B0604020202020204" pitchFamily="34" charset="0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159661"/>
                  </a:ext>
                </a:extLst>
              </a:tr>
              <a:tr h="947295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wnioski klientów o wydanie warunków zasilania obiektów o dużej mocy</a:t>
                      </a:r>
                      <a:endParaRPr lang="de-DE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głównie data center</a:t>
                      </a:r>
                      <a:endParaRPr lang="de-DE" noProof="1">
                        <a:effectLst/>
                        <a:latin typeface="Arial" panose="020B0604020202020204" pitchFamily="34" charset="0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0623809"/>
                  </a:ext>
                </a:extLst>
              </a:tr>
            </a:tbl>
          </a:graphicData>
        </a:graphic>
      </p:graphicFrame>
      <p:sp>
        <p:nvSpPr>
          <p:cNvPr id="9" name="Prostokąt 8">
            <a:extLst>
              <a:ext uri="{FF2B5EF4-FFF2-40B4-BE49-F238E27FC236}">
                <a16:creationId xmlns:a16="http://schemas.microsoft.com/office/drawing/2014/main" id="{8BECFF12-663E-A1C5-6CAD-DCEA1D0B2D9C}"/>
              </a:ext>
            </a:extLst>
          </p:cNvPr>
          <p:cNvSpPr/>
          <p:nvPr/>
        </p:nvSpPr>
        <p:spPr>
          <a:xfrm>
            <a:off x="319177" y="2950234"/>
            <a:ext cx="6047117" cy="332979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1156663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56F928-D188-F275-657B-330F0EC719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DF7F56AF-B2B6-7AA0-A28A-7AEB0E622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35496-FC3F-4BE2-84CA-615D9930646E}" type="slidenum">
              <a:rPr lang="en-US" smtClean="0"/>
              <a:t>5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4313F93-9972-F70D-294C-D374AEC05C5A}"/>
              </a:ext>
            </a:extLst>
          </p:cNvPr>
          <p:cNvSpPr>
            <a:spLocks noGrp="1"/>
          </p:cNvSpPr>
          <p:nvPr/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noProof="1">
                <a:solidFill>
                  <a:schemeClr val="accent1"/>
                </a:solidFill>
              </a:rPr>
              <a:t>Wzrost zapotrzebowania na moc</a:t>
            </a:r>
            <a:endParaRPr lang="en-US" dirty="0">
              <a:solidFill>
                <a:schemeClr val="accent1"/>
              </a:solidFill>
            </a:endParaRPr>
          </a:p>
          <a:p>
            <a:endParaRPr lang="pl-PL" noProof="1">
              <a:solidFill>
                <a:schemeClr val="accent1"/>
              </a:solidFill>
            </a:endParaRPr>
          </a:p>
        </p:txBody>
      </p:sp>
      <p:sp>
        <p:nvSpPr>
          <p:cNvPr id="5" name="Symbol zastępczy stopki 1">
            <a:extLst>
              <a:ext uri="{FF2B5EF4-FFF2-40B4-BE49-F238E27FC236}">
                <a16:creationId xmlns:a16="http://schemas.microsoft.com/office/drawing/2014/main" id="{DD8D76E3-A24A-45FB-662A-1522C8B904B3}"/>
              </a:ext>
            </a:extLst>
          </p:cNvPr>
          <p:cNvSpPr txBox="1">
            <a:spLocks/>
          </p:cNvSpPr>
          <p:nvPr/>
        </p:nvSpPr>
        <p:spPr bwMode="gray">
          <a:xfrm>
            <a:off x="606782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  <a:p>
            <a:endParaRPr lang="en-US" noProof="1"/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2E8A338F-34C4-CDA8-0AAA-160CBF2D537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28600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2" name="Grafika 26">
            <a:extLst>
              <a:ext uri="{FF2B5EF4-FFF2-40B4-BE49-F238E27FC236}">
                <a16:creationId xmlns:a16="http://schemas.microsoft.com/office/drawing/2014/main" id="{87404E90-19C9-AC96-74C9-E8F4B11A5D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86334" y="1210286"/>
            <a:ext cx="5337790" cy="4942398"/>
          </a:xfrm>
          <a:prstGeom prst="rect">
            <a:avLst/>
          </a:prstGeom>
        </p:spPr>
      </p:pic>
      <p:sp>
        <p:nvSpPr>
          <p:cNvPr id="6" name="Text Box 44">
            <a:extLst>
              <a:ext uri="{FF2B5EF4-FFF2-40B4-BE49-F238E27FC236}">
                <a16:creationId xmlns:a16="http://schemas.microsoft.com/office/drawing/2014/main" id="{EEFFD329-AA9A-0E87-AB80-8B2901D9E16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263247" y="3330979"/>
            <a:ext cx="936978" cy="3070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67"/>
              </a:lnSpc>
            </a:pPr>
            <a:r>
              <a:rPr lang="pl-PL" sz="1400">
                <a:solidFill>
                  <a:srgbClr val="000000"/>
                </a:solidFill>
              </a:rPr>
              <a:t>Warszawa</a:t>
            </a: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8" name="Ellipse 63">
            <a:extLst>
              <a:ext uri="{FF2B5EF4-FFF2-40B4-BE49-F238E27FC236}">
                <a16:creationId xmlns:a16="http://schemas.microsoft.com/office/drawing/2014/main" id="{76192691-4E0C-F233-D8B2-5E8F3DD00CFD}"/>
              </a:ext>
            </a:extLst>
          </p:cNvPr>
          <p:cNvSpPr/>
          <p:nvPr/>
        </p:nvSpPr>
        <p:spPr bwMode="gray">
          <a:xfrm rot="6060000">
            <a:off x="10098019" y="3446164"/>
            <a:ext cx="74607" cy="74606"/>
          </a:xfrm>
          <a:prstGeom prst="ellipse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de-DE" sz="1400">
              <a:ln w="9525"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56A471A-9356-D07E-5FC4-D278887F2FC0}"/>
              </a:ext>
            </a:extLst>
          </p:cNvPr>
          <p:cNvGraphicFramePr>
            <a:graphicFrameLocks noGrp="1"/>
          </p:cNvGraphicFramePr>
          <p:nvPr/>
        </p:nvGraphicFramePr>
        <p:xfrm>
          <a:off x="605692" y="1006230"/>
          <a:ext cx="5550738" cy="535899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550738">
                  <a:extLst>
                    <a:ext uri="{9D8B030D-6E8A-4147-A177-3AD203B41FA5}">
                      <a16:colId xmlns:a16="http://schemas.microsoft.com/office/drawing/2014/main" val="1982376513"/>
                    </a:ext>
                  </a:extLst>
                </a:gridCol>
              </a:tblGrid>
              <a:tr h="491634">
                <a:tc>
                  <a:txBody>
                    <a:bodyPr/>
                    <a:lstStyle/>
                    <a:p>
                      <a:pPr lvl="0">
                        <a:lnSpc>
                          <a:spcPts val="1575"/>
                        </a:lnSpc>
                        <a:buNone/>
                      </a:pPr>
                      <a:r>
                        <a:rPr lang="de-DE" sz="1600" b="1" noProof="1">
                          <a:solidFill>
                            <a:srgbClr val="EA1B0A"/>
                          </a:solidFill>
                          <a:effectLst/>
                          <a:latin typeface="EON Brix Sans" panose="020B0500000000000000"/>
                        </a:rPr>
                        <a:t>aglomeracja warszawska</a:t>
                      </a:r>
                      <a:endParaRPr lang="en-US" noProof="1"/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858514"/>
                  </a:ext>
                </a:extLst>
              </a:tr>
              <a:tr h="1430720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noProof="1">
                        <a:effectLst/>
                        <a:latin typeface="EON Brix Sans"/>
                      </a:endParaRPr>
                    </a:p>
                    <a:p>
                      <a:pPr marL="342900" lvl="0" indent="-34290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systematyczny </a:t>
                      </a:r>
                      <a:r>
                        <a:rPr lang="de-DE" sz="1400" b="1" noProof="1">
                          <a:effectLst/>
                          <a:latin typeface="EON Brix Sans"/>
                        </a:rPr>
                        <a:t>wzrost zapotrzebowania na moc</a:t>
                      </a:r>
                      <a:r>
                        <a:rPr lang="de-DE" sz="1400" noProof="1">
                          <a:effectLst/>
                          <a:latin typeface="EON Brix Sans"/>
                        </a:rPr>
                        <a:t> w aglomeracji warszawskiej</a:t>
                      </a:r>
                      <a:endParaRPr lang="de-DE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trendy na rynku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dyrektywy unijne z wpływem a zapotrzebowanie na energię elektryczną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współpraca z m.st. Warszawa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potrzeby klientów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dirty="0">
                        <a:effectLst/>
                        <a:latin typeface="EON Brix Sans" panose="020B0500000000000000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9271630"/>
                  </a:ext>
                </a:extLst>
              </a:tr>
              <a:tr h="1087820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noProof="1">
                        <a:effectLst/>
                        <a:latin typeface="EON Brix Sans"/>
                      </a:endParaRPr>
                    </a:p>
                    <a:p>
                      <a:pPr marL="342900" lvl="0" indent="-34290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założenia Biura Infrastruktury Urzędu Miasta </a:t>
                      </a:r>
                      <a:r>
                        <a:rPr lang="pl-PL" sz="1400" noProof="1">
                          <a:effectLst/>
                          <a:latin typeface="EON Brix Sans"/>
                        </a:rPr>
                        <a:t>- </a:t>
                      </a:r>
                      <a:r>
                        <a:rPr lang="pl-PL" sz="1400" b="1" noProof="1">
                          <a:effectLst/>
                          <a:latin typeface="EON Brix Sans"/>
                        </a:rPr>
                        <a:t>p</a:t>
                      </a:r>
                      <a:r>
                        <a:rPr lang="de-DE" sz="1400" b="1" noProof="1">
                          <a:effectLst/>
                          <a:latin typeface="EON Brix Sans"/>
                        </a:rPr>
                        <a:t>lan </a:t>
                      </a:r>
                      <a:r>
                        <a:rPr lang="pl-PL" sz="1400" b="1" noProof="1">
                          <a:effectLst/>
                          <a:latin typeface="EON Brix Sans"/>
                        </a:rPr>
                        <a:t>z</a:t>
                      </a:r>
                      <a:r>
                        <a:rPr lang="de-DE" sz="1400" b="1" noProof="1">
                          <a:effectLst/>
                          <a:latin typeface="EON Brix Sans"/>
                        </a:rPr>
                        <a:t>aopatrzenia Warszawy w energię</a:t>
                      </a:r>
                      <a:r>
                        <a:rPr lang="pl-PL" sz="1400" b="1" noProof="1">
                          <a:effectLst/>
                          <a:latin typeface="EON Brix Sans"/>
                        </a:rPr>
                        <a:t> elektryczną</a:t>
                      </a:r>
                      <a:endParaRPr lang="de-DE" b="1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w horyzoncie 2040 - 2050 moc szczytowa miasta w warunkach normalnych zimowych może osiągnąć około 6 GW (cztery razy więcej niż dzisiaj)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dirty="0">
                        <a:effectLst/>
                        <a:latin typeface="EON Brix Sans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956033"/>
                  </a:ext>
                </a:extLst>
              </a:tr>
              <a:tr h="959286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b="0" i="0" u="none" strike="noStrike" noProof="1">
                          <a:effectLst/>
                        </a:rPr>
                        <a:t>plany MZA dotyczące elektryfikacji floty autobusów w Warszawi</a:t>
                      </a:r>
                      <a:endParaRPr lang="de-DE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b="0" i="0" u="none" strike="noStrike" noProof="1">
                          <a:effectLst/>
                        </a:rPr>
                        <a:t>średnio rocznie ok. 80 - 100 nowych autobusów elektrycznych, docelowo ok. 1200 autobusów</a:t>
                      </a:r>
                      <a:endParaRPr lang="de-DE" noProof="1">
                        <a:effectLst/>
                        <a:latin typeface="Arial" panose="020B0604020202020204" pitchFamily="34" charset="0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159661"/>
                  </a:ext>
                </a:extLst>
              </a:tr>
              <a:tr h="947295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wnioski klientów o wydanie warunków zasilania obiektów o dużej mocy</a:t>
                      </a:r>
                      <a:endParaRPr lang="de-DE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głównie data center</a:t>
                      </a:r>
                      <a:endParaRPr lang="de-DE" noProof="1">
                        <a:effectLst/>
                        <a:latin typeface="Arial" panose="020B0604020202020204" pitchFamily="34" charset="0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0623809"/>
                  </a:ext>
                </a:extLst>
              </a:tr>
            </a:tbl>
          </a:graphicData>
        </a:graphic>
      </p:graphicFrame>
      <p:sp>
        <p:nvSpPr>
          <p:cNvPr id="9" name="Prostokąt 8">
            <a:extLst>
              <a:ext uri="{FF2B5EF4-FFF2-40B4-BE49-F238E27FC236}">
                <a16:creationId xmlns:a16="http://schemas.microsoft.com/office/drawing/2014/main" id="{2BF95CBF-64AF-64B5-7793-969ED943680E}"/>
              </a:ext>
            </a:extLst>
          </p:cNvPr>
          <p:cNvSpPr/>
          <p:nvPr/>
        </p:nvSpPr>
        <p:spPr>
          <a:xfrm>
            <a:off x="319177" y="4364966"/>
            <a:ext cx="6047117" cy="191506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21475374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1898BD-0663-8730-799B-5E5095430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30763DF4-9FE5-4DDD-865C-7A1A73BF1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35496-FC3F-4BE2-84CA-615D9930646E}" type="slidenum">
              <a:rPr lang="en-US" smtClean="0"/>
              <a:t>6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EDE1B93-38D6-7016-86BF-EA07CE754E87}"/>
              </a:ext>
            </a:extLst>
          </p:cNvPr>
          <p:cNvSpPr>
            <a:spLocks noGrp="1"/>
          </p:cNvSpPr>
          <p:nvPr/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noProof="1">
                <a:solidFill>
                  <a:schemeClr val="accent1"/>
                </a:solidFill>
              </a:rPr>
              <a:t>Wzrost zapotrzebowania na moc</a:t>
            </a:r>
            <a:endParaRPr lang="en-US" dirty="0">
              <a:solidFill>
                <a:schemeClr val="accent1"/>
              </a:solidFill>
            </a:endParaRPr>
          </a:p>
          <a:p>
            <a:endParaRPr lang="pl-PL" noProof="1">
              <a:solidFill>
                <a:schemeClr val="accent1"/>
              </a:solidFill>
            </a:endParaRPr>
          </a:p>
        </p:txBody>
      </p:sp>
      <p:sp>
        <p:nvSpPr>
          <p:cNvPr id="5" name="Symbol zastępczy stopki 1">
            <a:extLst>
              <a:ext uri="{FF2B5EF4-FFF2-40B4-BE49-F238E27FC236}">
                <a16:creationId xmlns:a16="http://schemas.microsoft.com/office/drawing/2014/main" id="{6F30AB20-D866-0BA1-21A1-59D38316A493}"/>
              </a:ext>
            </a:extLst>
          </p:cNvPr>
          <p:cNvSpPr txBox="1">
            <a:spLocks/>
          </p:cNvSpPr>
          <p:nvPr/>
        </p:nvSpPr>
        <p:spPr bwMode="gray">
          <a:xfrm>
            <a:off x="606782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  <a:p>
            <a:endParaRPr lang="en-US" noProof="1"/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C3526BEC-DC45-B0CF-65A7-F2A8EA51597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28600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2" name="Grafika 26">
            <a:extLst>
              <a:ext uri="{FF2B5EF4-FFF2-40B4-BE49-F238E27FC236}">
                <a16:creationId xmlns:a16="http://schemas.microsoft.com/office/drawing/2014/main" id="{E62B8852-437F-8C40-01DA-D5ACB42163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86334" y="1210286"/>
            <a:ext cx="5337790" cy="4942398"/>
          </a:xfrm>
          <a:prstGeom prst="rect">
            <a:avLst/>
          </a:prstGeom>
        </p:spPr>
      </p:pic>
      <p:sp>
        <p:nvSpPr>
          <p:cNvPr id="6" name="Text Box 44">
            <a:extLst>
              <a:ext uri="{FF2B5EF4-FFF2-40B4-BE49-F238E27FC236}">
                <a16:creationId xmlns:a16="http://schemas.microsoft.com/office/drawing/2014/main" id="{3895206C-AE7C-ACC6-2906-DFAEEC36C83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263247" y="3330979"/>
            <a:ext cx="936978" cy="3070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67"/>
              </a:lnSpc>
            </a:pPr>
            <a:r>
              <a:rPr lang="pl-PL" sz="1400">
                <a:solidFill>
                  <a:srgbClr val="000000"/>
                </a:solidFill>
              </a:rPr>
              <a:t>Warszawa</a:t>
            </a: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8" name="Ellipse 63">
            <a:extLst>
              <a:ext uri="{FF2B5EF4-FFF2-40B4-BE49-F238E27FC236}">
                <a16:creationId xmlns:a16="http://schemas.microsoft.com/office/drawing/2014/main" id="{B6E7D9EB-24CA-298F-A7AF-81531CEAD8CE}"/>
              </a:ext>
            </a:extLst>
          </p:cNvPr>
          <p:cNvSpPr/>
          <p:nvPr/>
        </p:nvSpPr>
        <p:spPr bwMode="gray">
          <a:xfrm rot="6060000">
            <a:off x="10098019" y="3446164"/>
            <a:ext cx="74607" cy="74606"/>
          </a:xfrm>
          <a:prstGeom prst="ellipse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de-DE" sz="1400">
              <a:ln w="9525"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B0E8676-B1CC-90C7-7BB8-276BEAD6A6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0453007"/>
              </p:ext>
            </p:extLst>
          </p:nvPr>
        </p:nvGraphicFramePr>
        <p:xfrm>
          <a:off x="605692" y="1006230"/>
          <a:ext cx="5550738" cy="535899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550738">
                  <a:extLst>
                    <a:ext uri="{9D8B030D-6E8A-4147-A177-3AD203B41FA5}">
                      <a16:colId xmlns:a16="http://schemas.microsoft.com/office/drawing/2014/main" val="1982376513"/>
                    </a:ext>
                  </a:extLst>
                </a:gridCol>
              </a:tblGrid>
              <a:tr h="491634">
                <a:tc>
                  <a:txBody>
                    <a:bodyPr/>
                    <a:lstStyle/>
                    <a:p>
                      <a:pPr lvl="0">
                        <a:lnSpc>
                          <a:spcPts val="1575"/>
                        </a:lnSpc>
                        <a:buNone/>
                      </a:pPr>
                      <a:r>
                        <a:rPr lang="de-DE" sz="1600" b="1" noProof="1">
                          <a:solidFill>
                            <a:srgbClr val="EA1B0A"/>
                          </a:solidFill>
                          <a:effectLst/>
                          <a:latin typeface="EON Brix Sans" panose="020B0500000000000000"/>
                        </a:rPr>
                        <a:t>aglomeracja warszawska</a:t>
                      </a:r>
                      <a:endParaRPr lang="en-US" noProof="1"/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858514"/>
                  </a:ext>
                </a:extLst>
              </a:tr>
              <a:tr h="1430720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noProof="1">
                        <a:effectLst/>
                        <a:latin typeface="EON Brix Sans"/>
                      </a:endParaRPr>
                    </a:p>
                    <a:p>
                      <a:pPr marL="342900" lvl="0" indent="-34290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systematyczny </a:t>
                      </a:r>
                      <a:r>
                        <a:rPr lang="de-DE" sz="1400" b="1" noProof="1">
                          <a:effectLst/>
                          <a:latin typeface="EON Brix Sans"/>
                        </a:rPr>
                        <a:t>wzrost zapotrzebowania na moc</a:t>
                      </a:r>
                      <a:r>
                        <a:rPr lang="de-DE" sz="1400" noProof="1">
                          <a:effectLst/>
                          <a:latin typeface="EON Brix Sans"/>
                        </a:rPr>
                        <a:t> w aglomeracji warszawskiej</a:t>
                      </a:r>
                      <a:endParaRPr lang="de-DE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trendy na rynku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dyrektywy unijne z wpływem a zapotrzebowanie na energię elektryczną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współpraca z m.st. Warszawa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potrzeby klientów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dirty="0">
                        <a:effectLst/>
                        <a:latin typeface="EON Brix Sans" panose="020B0500000000000000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9271630"/>
                  </a:ext>
                </a:extLst>
              </a:tr>
              <a:tr h="1087820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noProof="1">
                        <a:effectLst/>
                        <a:latin typeface="EON Brix Sans"/>
                      </a:endParaRPr>
                    </a:p>
                    <a:p>
                      <a:pPr marL="342900" lvl="0" indent="-34290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założenia Biura Infrastruktury Urzędu Miasta </a:t>
                      </a:r>
                      <a:r>
                        <a:rPr lang="pl-PL" sz="1400" noProof="1">
                          <a:effectLst/>
                          <a:latin typeface="EON Brix Sans"/>
                        </a:rPr>
                        <a:t>- </a:t>
                      </a:r>
                      <a:r>
                        <a:rPr lang="pl-PL" sz="1400" b="1" noProof="1">
                          <a:effectLst/>
                          <a:latin typeface="EON Brix Sans"/>
                        </a:rPr>
                        <a:t>p</a:t>
                      </a:r>
                      <a:r>
                        <a:rPr lang="de-DE" sz="1400" b="1" noProof="1">
                          <a:effectLst/>
                          <a:latin typeface="EON Brix Sans"/>
                        </a:rPr>
                        <a:t>lan </a:t>
                      </a:r>
                      <a:r>
                        <a:rPr lang="pl-PL" sz="1400" b="1" noProof="1">
                          <a:effectLst/>
                          <a:latin typeface="EON Brix Sans"/>
                        </a:rPr>
                        <a:t>z</a:t>
                      </a:r>
                      <a:r>
                        <a:rPr lang="de-DE" sz="1400" b="1" noProof="1">
                          <a:effectLst/>
                          <a:latin typeface="EON Brix Sans"/>
                        </a:rPr>
                        <a:t>aopatrzenia Warszawy w energię</a:t>
                      </a:r>
                      <a:r>
                        <a:rPr lang="pl-PL" sz="1400" b="1" noProof="1">
                          <a:effectLst/>
                          <a:latin typeface="EON Brix Sans"/>
                        </a:rPr>
                        <a:t> elektryczną</a:t>
                      </a:r>
                      <a:endParaRPr lang="de-DE" b="1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w horyzoncie 2040 - 2050 moc szczytowa miasta w warunkach normalnych zimowych może osiągnąć około 6 GW (cztery razy więcej niż dzisiaj)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dirty="0">
                        <a:effectLst/>
                        <a:latin typeface="EON Brix Sans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956033"/>
                  </a:ext>
                </a:extLst>
              </a:tr>
              <a:tr h="959286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b="0" i="0" u="none" strike="noStrike" noProof="1">
                          <a:effectLst/>
                        </a:rPr>
                        <a:t>plany MZA dotyczące elektryfikacji floty autobusów w Warszawi</a:t>
                      </a:r>
                      <a:r>
                        <a:rPr lang="pl-PL" sz="1400" b="0" i="0" u="none" strike="noStrike" noProof="1">
                          <a:effectLst/>
                        </a:rPr>
                        <a:t>e</a:t>
                      </a:r>
                      <a:endParaRPr lang="de-DE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b="0" i="0" u="none" strike="noStrike" noProof="1">
                          <a:effectLst/>
                        </a:rPr>
                        <a:t>średnio rocznie ok. 80 - 100 nowych autobusów elektrycznych, docelowo ok. 1200 autobusów</a:t>
                      </a:r>
                      <a:endParaRPr lang="de-DE" noProof="1">
                        <a:effectLst/>
                        <a:latin typeface="Arial" panose="020B0604020202020204" pitchFamily="34" charset="0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159661"/>
                  </a:ext>
                </a:extLst>
              </a:tr>
              <a:tr h="947295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wnioski klientów o wydanie warunków zasilania obiektów o dużej mocy</a:t>
                      </a:r>
                      <a:endParaRPr lang="de-DE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głównie data center</a:t>
                      </a:r>
                      <a:endParaRPr lang="de-DE" noProof="1">
                        <a:effectLst/>
                        <a:latin typeface="Arial" panose="020B0604020202020204" pitchFamily="34" charset="0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0623809"/>
                  </a:ext>
                </a:extLst>
              </a:tr>
            </a:tbl>
          </a:graphicData>
        </a:graphic>
      </p:graphicFrame>
      <p:sp>
        <p:nvSpPr>
          <p:cNvPr id="9" name="Prostokąt 8">
            <a:extLst>
              <a:ext uri="{FF2B5EF4-FFF2-40B4-BE49-F238E27FC236}">
                <a16:creationId xmlns:a16="http://schemas.microsoft.com/office/drawing/2014/main" id="{4E398A38-D64D-0D0D-43CF-BE99667F3A5E}"/>
              </a:ext>
            </a:extLst>
          </p:cNvPr>
          <p:cNvSpPr/>
          <p:nvPr/>
        </p:nvSpPr>
        <p:spPr>
          <a:xfrm>
            <a:off x="319177" y="5393632"/>
            <a:ext cx="6047117" cy="886397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7371079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8E348D-EAB9-3B6B-4AC5-B2396FA0B5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336F6E4B-FE62-81FA-A3BF-D8AA5C12F1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35496-FC3F-4BE2-84CA-615D9930646E}" type="slidenum">
              <a:rPr lang="en-US" smtClean="0"/>
              <a:t>7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9222AF-84C4-4B3D-02CD-7DA9A7DF1F2C}"/>
              </a:ext>
            </a:extLst>
          </p:cNvPr>
          <p:cNvSpPr>
            <a:spLocks noGrp="1"/>
          </p:cNvSpPr>
          <p:nvPr/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noProof="1">
                <a:solidFill>
                  <a:schemeClr val="accent1"/>
                </a:solidFill>
              </a:rPr>
              <a:t>Wzrost zapotrzebowania na moc</a:t>
            </a:r>
            <a:endParaRPr lang="en-US" dirty="0">
              <a:solidFill>
                <a:schemeClr val="accent1"/>
              </a:solidFill>
            </a:endParaRPr>
          </a:p>
          <a:p>
            <a:endParaRPr lang="pl-PL" noProof="1">
              <a:solidFill>
                <a:schemeClr val="accent1"/>
              </a:solidFill>
            </a:endParaRPr>
          </a:p>
        </p:txBody>
      </p:sp>
      <p:sp>
        <p:nvSpPr>
          <p:cNvPr id="5" name="Symbol zastępczy stopki 1">
            <a:extLst>
              <a:ext uri="{FF2B5EF4-FFF2-40B4-BE49-F238E27FC236}">
                <a16:creationId xmlns:a16="http://schemas.microsoft.com/office/drawing/2014/main" id="{78E6657A-BC41-90E3-0411-809B25E54EF8}"/>
              </a:ext>
            </a:extLst>
          </p:cNvPr>
          <p:cNvSpPr txBox="1">
            <a:spLocks/>
          </p:cNvSpPr>
          <p:nvPr/>
        </p:nvSpPr>
        <p:spPr bwMode="gray">
          <a:xfrm>
            <a:off x="606782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  <a:p>
            <a:endParaRPr lang="en-US" noProof="1"/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99856024-EAE9-59C6-6516-9A0405C1ED8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28600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2" name="Grafika 26">
            <a:extLst>
              <a:ext uri="{FF2B5EF4-FFF2-40B4-BE49-F238E27FC236}">
                <a16:creationId xmlns:a16="http://schemas.microsoft.com/office/drawing/2014/main" id="{14BC8A5D-385B-D7C0-3FEE-84BA5B49FB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86334" y="1210286"/>
            <a:ext cx="5337790" cy="4942398"/>
          </a:xfrm>
          <a:prstGeom prst="rect">
            <a:avLst/>
          </a:prstGeom>
        </p:spPr>
      </p:pic>
      <p:sp>
        <p:nvSpPr>
          <p:cNvPr id="6" name="Text Box 44">
            <a:extLst>
              <a:ext uri="{FF2B5EF4-FFF2-40B4-BE49-F238E27FC236}">
                <a16:creationId xmlns:a16="http://schemas.microsoft.com/office/drawing/2014/main" id="{74FDF230-9398-850A-7DB6-47C19D0134D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263247" y="3330979"/>
            <a:ext cx="936978" cy="3070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67"/>
              </a:lnSpc>
            </a:pPr>
            <a:r>
              <a:rPr lang="pl-PL" sz="1400">
                <a:solidFill>
                  <a:srgbClr val="000000"/>
                </a:solidFill>
              </a:rPr>
              <a:t>Warszawa</a:t>
            </a: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8" name="Ellipse 63">
            <a:extLst>
              <a:ext uri="{FF2B5EF4-FFF2-40B4-BE49-F238E27FC236}">
                <a16:creationId xmlns:a16="http://schemas.microsoft.com/office/drawing/2014/main" id="{B42FC5C6-C805-CE91-D5F4-1A4D209DBE94}"/>
              </a:ext>
            </a:extLst>
          </p:cNvPr>
          <p:cNvSpPr/>
          <p:nvPr/>
        </p:nvSpPr>
        <p:spPr bwMode="gray">
          <a:xfrm rot="6060000">
            <a:off x="10098019" y="3446164"/>
            <a:ext cx="74607" cy="74606"/>
          </a:xfrm>
          <a:prstGeom prst="ellipse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de-DE" sz="1400">
              <a:ln w="9525"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414410CD-F152-64B0-DC71-E3C05EC382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772248"/>
              </p:ext>
            </p:extLst>
          </p:nvPr>
        </p:nvGraphicFramePr>
        <p:xfrm>
          <a:off x="605692" y="1006230"/>
          <a:ext cx="5550738" cy="535899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550738">
                  <a:extLst>
                    <a:ext uri="{9D8B030D-6E8A-4147-A177-3AD203B41FA5}">
                      <a16:colId xmlns:a16="http://schemas.microsoft.com/office/drawing/2014/main" val="1982376513"/>
                    </a:ext>
                  </a:extLst>
                </a:gridCol>
              </a:tblGrid>
              <a:tr h="491634">
                <a:tc>
                  <a:txBody>
                    <a:bodyPr/>
                    <a:lstStyle/>
                    <a:p>
                      <a:pPr lvl="0">
                        <a:lnSpc>
                          <a:spcPts val="1575"/>
                        </a:lnSpc>
                        <a:buNone/>
                      </a:pPr>
                      <a:r>
                        <a:rPr lang="de-DE" sz="1600" b="1" noProof="1">
                          <a:solidFill>
                            <a:srgbClr val="EA1B0A"/>
                          </a:solidFill>
                          <a:effectLst/>
                          <a:latin typeface="EON Brix Sans" panose="020B0500000000000000"/>
                        </a:rPr>
                        <a:t>aglomeracja warszawska</a:t>
                      </a:r>
                      <a:endParaRPr lang="en-US" noProof="1"/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858514"/>
                  </a:ext>
                </a:extLst>
              </a:tr>
              <a:tr h="1430720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noProof="1">
                        <a:effectLst/>
                        <a:latin typeface="EON Brix Sans"/>
                      </a:endParaRPr>
                    </a:p>
                    <a:p>
                      <a:pPr marL="342900" lvl="0" indent="-34290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systematyczny </a:t>
                      </a:r>
                      <a:r>
                        <a:rPr lang="de-DE" sz="1400" b="1" noProof="1">
                          <a:effectLst/>
                          <a:latin typeface="EON Brix Sans"/>
                        </a:rPr>
                        <a:t>wzrost zapotrzebowania na moc</a:t>
                      </a:r>
                      <a:r>
                        <a:rPr lang="de-DE" sz="1400" noProof="1">
                          <a:effectLst/>
                          <a:latin typeface="EON Brix Sans"/>
                        </a:rPr>
                        <a:t> w aglomeracji warszawskiej</a:t>
                      </a:r>
                      <a:endParaRPr lang="de-DE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trendy na rynku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dyrektywy unijne z wpływem a zapotrzebowanie na energię elektryczną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współpraca z m.st. Warszawa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 panose="020B0500000000000000"/>
                        </a:rPr>
                        <a:t>potrzeby klientów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dirty="0">
                        <a:effectLst/>
                        <a:latin typeface="EON Brix Sans" panose="020B0500000000000000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9271630"/>
                  </a:ext>
                </a:extLst>
              </a:tr>
              <a:tr h="1087820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noProof="1">
                        <a:effectLst/>
                        <a:latin typeface="EON Brix Sans"/>
                      </a:endParaRPr>
                    </a:p>
                    <a:p>
                      <a:pPr marL="342900" lvl="0" indent="-34290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założenia Biura Infrastruktury Urzędu Miasta </a:t>
                      </a:r>
                      <a:r>
                        <a:rPr lang="pl-PL" sz="1400" noProof="1">
                          <a:effectLst/>
                          <a:latin typeface="EON Brix Sans"/>
                        </a:rPr>
                        <a:t>- </a:t>
                      </a:r>
                      <a:r>
                        <a:rPr lang="pl-PL" sz="1400" b="1" noProof="1">
                          <a:effectLst/>
                          <a:latin typeface="EON Brix Sans"/>
                        </a:rPr>
                        <a:t>p</a:t>
                      </a:r>
                      <a:r>
                        <a:rPr lang="de-DE" sz="1400" b="1" noProof="1">
                          <a:effectLst/>
                          <a:latin typeface="EON Brix Sans"/>
                        </a:rPr>
                        <a:t>lan </a:t>
                      </a:r>
                      <a:r>
                        <a:rPr lang="pl-PL" sz="1400" b="1" noProof="1">
                          <a:effectLst/>
                          <a:latin typeface="EON Brix Sans"/>
                        </a:rPr>
                        <a:t>z</a:t>
                      </a:r>
                      <a:r>
                        <a:rPr lang="de-DE" sz="1400" b="1" noProof="1">
                          <a:effectLst/>
                          <a:latin typeface="EON Brix Sans"/>
                        </a:rPr>
                        <a:t>aopatrzenia Warszawy w energię</a:t>
                      </a:r>
                      <a:r>
                        <a:rPr lang="pl-PL" sz="1400" b="1" noProof="1">
                          <a:effectLst/>
                          <a:latin typeface="EON Brix Sans"/>
                        </a:rPr>
                        <a:t> elektryczną</a:t>
                      </a:r>
                      <a:endParaRPr lang="de-DE" b="1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w horyzoncie 2040 - 2050 moc szczytowa miasta w warunkach normalnych zimowych może osiągnąć około 6 GW (cztery razy więcej niż dzisiaj)</a:t>
                      </a:r>
                    </a:p>
                    <a:p>
                      <a:pPr marL="742950" lvl="1" indent="-285750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endParaRPr lang="de-DE" sz="1400" dirty="0">
                        <a:effectLst/>
                        <a:latin typeface="EON Brix Sans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956033"/>
                  </a:ext>
                </a:extLst>
              </a:tr>
              <a:tr h="959286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b="0" i="0" u="none" strike="noStrike" noProof="1">
                          <a:effectLst/>
                        </a:rPr>
                        <a:t>plany MZA dotyczące elektryfikacji floty autobusów w Warszawi</a:t>
                      </a:r>
                      <a:r>
                        <a:rPr lang="pl-PL" sz="1400" b="0" i="0" u="none" strike="noStrike" noProof="1">
                          <a:effectLst/>
                        </a:rPr>
                        <a:t>e</a:t>
                      </a:r>
                      <a:endParaRPr lang="de-DE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b="0" i="0" u="none" strike="noStrike" noProof="1">
                          <a:effectLst/>
                        </a:rPr>
                        <a:t>średnio rocznie ok. 80 - 100 nowych autobusów elektrycznych, docelowo ok. 1200 autobusów</a:t>
                      </a:r>
                      <a:endParaRPr lang="de-DE" noProof="1">
                        <a:effectLst/>
                        <a:latin typeface="Arial" panose="020B0604020202020204" pitchFamily="34" charset="0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159661"/>
                  </a:ext>
                </a:extLst>
              </a:tr>
              <a:tr h="947295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wnioski klientów o wydanie warunków zasilania obiektów o dużej mocy</a:t>
                      </a:r>
                      <a:endParaRPr lang="de-DE" noProof="1">
                        <a:effectLst/>
                        <a:latin typeface="Arial"/>
                      </a:endParaRPr>
                    </a:p>
                    <a:p>
                      <a:pPr marL="742950" lvl="1" indent="-285750" rtl="0" fontAlgn="base">
                        <a:lnSpc>
                          <a:spcPts val="13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effectLst/>
                          <a:latin typeface="EON Brix Sans"/>
                        </a:rPr>
                        <a:t>głównie data center</a:t>
                      </a:r>
                      <a:endParaRPr lang="de-DE" noProof="1">
                        <a:effectLst/>
                        <a:latin typeface="Arial" panose="020B0604020202020204" pitchFamily="34" charset="0"/>
                      </a:endParaRPr>
                    </a:p>
                  </a:txBody>
                  <a:tcPr marT="28994" marB="2899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06238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1134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5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7A588F4-4ECA-EB7C-75A4-C8E3AC084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Biblioteka slajdów Stoen Operato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26077E-AAB2-C928-04F0-8780E6569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8</a:t>
            </a:fld>
            <a:endParaRPr lang="en-GB" noProof="0"/>
          </a:p>
        </p:txBody>
      </p:sp>
      <p:sp>
        <p:nvSpPr>
          <p:cNvPr id="5" name="Foliennummernplatzhalter 1">
            <a:extLst>
              <a:ext uri="{FF2B5EF4-FFF2-40B4-BE49-F238E27FC236}">
                <a16:creationId xmlns:a16="http://schemas.microsoft.com/office/drawing/2014/main" id="{5C39EE15-9108-7812-CE6F-EDE3B7FC74F8}"/>
              </a:ext>
            </a:extLst>
          </p:cNvPr>
          <p:cNvSpPr>
            <a:spLocks noGrp="1"/>
          </p:cNvSpPr>
          <p:nvPr/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FFFE70-FC19-4A94-9D10-0B3C8E890CB2}" type="slidenum">
              <a:rPr lang="de-DE" noProof="0" smtClean="0"/>
              <a:pPr/>
              <a:t>8</a:t>
            </a:fld>
            <a:endParaRPr lang="de-DE" noProof="0"/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400AD71D-F39A-B6BB-B178-F3B65220CCD5}"/>
              </a:ext>
            </a:extLst>
          </p:cNvPr>
          <p:cNvSpPr>
            <a:spLocks noGrp="1"/>
          </p:cNvSpPr>
          <p:nvPr/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noProof="1">
                <a:solidFill>
                  <a:schemeClr val="accent1"/>
                </a:solidFill>
              </a:rPr>
              <a:t>Nasze podejście do rozwoju sieci</a:t>
            </a:r>
            <a:endParaRPr lang="en-US" dirty="0">
              <a:solidFill>
                <a:schemeClr val="accent1"/>
              </a:solidFill>
            </a:endParaRPr>
          </a:p>
          <a:p>
            <a:endParaRPr lang="pl-PL" noProof="1">
              <a:solidFill>
                <a:schemeClr val="accent1"/>
              </a:solidFill>
            </a:endParaRPr>
          </a:p>
        </p:txBody>
      </p:sp>
      <p:sp>
        <p:nvSpPr>
          <p:cNvPr id="8" name="Foliennummernplatzhalter 1">
            <a:extLst>
              <a:ext uri="{FF2B5EF4-FFF2-40B4-BE49-F238E27FC236}">
                <a16:creationId xmlns:a16="http://schemas.microsoft.com/office/drawing/2014/main" id="{5C39EE15-9108-7812-CE6F-EDE3B7FC74F8}"/>
              </a:ext>
            </a:extLst>
          </p:cNvPr>
          <p:cNvSpPr>
            <a:spLocks noGrp="1"/>
          </p:cNvSpPr>
          <p:nvPr/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FFFE70-FC19-4A94-9D10-0B3C8E890CB2}" type="slidenum">
              <a:rPr lang="de-DE" noProof="0" smtClean="0"/>
              <a:pPr/>
              <a:t>8</a:t>
            </a:fld>
            <a:endParaRPr lang="de-DE" noProof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B90DAF-2C59-8E83-8204-330286E3B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0037504"/>
              </p:ext>
            </p:extLst>
          </p:nvPr>
        </p:nvGraphicFramePr>
        <p:xfrm>
          <a:off x="1108984" y="2278386"/>
          <a:ext cx="10162007" cy="375458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95050">
                  <a:extLst>
                    <a:ext uri="{9D8B030D-6E8A-4147-A177-3AD203B41FA5}">
                      <a16:colId xmlns:a16="http://schemas.microsoft.com/office/drawing/2014/main" val="1642677891"/>
                    </a:ext>
                  </a:extLst>
                </a:gridCol>
                <a:gridCol w="248306">
                  <a:extLst>
                    <a:ext uri="{9D8B030D-6E8A-4147-A177-3AD203B41FA5}">
                      <a16:colId xmlns:a16="http://schemas.microsoft.com/office/drawing/2014/main" val="837040480"/>
                    </a:ext>
                  </a:extLst>
                </a:gridCol>
                <a:gridCol w="2461237">
                  <a:extLst>
                    <a:ext uri="{9D8B030D-6E8A-4147-A177-3AD203B41FA5}">
                      <a16:colId xmlns:a16="http://schemas.microsoft.com/office/drawing/2014/main" val="110910844"/>
                    </a:ext>
                  </a:extLst>
                </a:gridCol>
                <a:gridCol w="230011">
                  <a:extLst>
                    <a:ext uri="{9D8B030D-6E8A-4147-A177-3AD203B41FA5}">
                      <a16:colId xmlns:a16="http://schemas.microsoft.com/office/drawing/2014/main" val="3330376611"/>
                    </a:ext>
                  </a:extLst>
                </a:gridCol>
                <a:gridCol w="2454183">
                  <a:extLst>
                    <a:ext uri="{9D8B030D-6E8A-4147-A177-3AD203B41FA5}">
                      <a16:colId xmlns:a16="http://schemas.microsoft.com/office/drawing/2014/main" val="2689378838"/>
                    </a:ext>
                  </a:extLst>
                </a:gridCol>
                <a:gridCol w="224822">
                  <a:extLst>
                    <a:ext uri="{9D8B030D-6E8A-4147-A177-3AD203B41FA5}">
                      <a16:colId xmlns:a16="http://schemas.microsoft.com/office/drawing/2014/main" val="1266133287"/>
                    </a:ext>
                  </a:extLst>
                </a:gridCol>
                <a:gridCol w="2348398">
                  <a:extLst>
                    <a:ext uri="{9D8B030D-6E8A-4147-A177-3AD203B41FA5}">
                      <a16:colId xmlns:a16="http://schemas.microsoft.com/office/drawing/2014/main" val="4226494796"/>
                    </a:ext>
                  </a:extLst>
                </a:gridCol>
              </a:tblGrid>
              <a:tr h="633890">
                <a:tc>
                  <a:txBody>
                    <a:bodyPr/>
                    <a:lstStyle/>
                    <a:p>
                      <a:pPr lvl="0" algn="ctr">
                        <a:lnSpc>
                          <a:spcPts val="1950"/>
                        </a:lnSpc>
                        <a:buNone/>
                      </a:pPr>
                      <a:r>
                        <a:rPr lang="de-DE" sz="1600" b="1" noProof="1">
                          <a:solidFill>
                            <a:srgbClr val="EA1B0A"/>
                          </a:solidFill>
                          <a:effectLst/>
                          <a:latin typeface="EON Brix Sans" panose="020B0500000000000000"/>
                        </a:rPr>
                        <a:t>Kablowanie sieci</a:t>
                      </a:r>
                    </a:p>
                  </a:txBody>
                  <a:tcPr marT="35995" marB="3599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ts val="1950"/>
                        </a:lnSpc>
                        <a:buNone/>
                      </a:pPr>
                      <a:endParaRPr lang="de-DE" sz="1600" b="1" noProof="1">
                        <a:solidFill>
                          <a:srgbClr val="EA1B0A"/>
                        </a:solidFill>
                        <a:effectLst/>
                        <a:latin typeface="EON Brix Sans"/>
                      </a:endParaRPr>
                    </a:p>
                  </a:txBody>
                  <a:tcPr marT="35995" marB="35995" anchor="b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ts val="1950"/>
                        </a:lnSpc>
                        <a:buNone/>
                      </a:pPr>
                      <a:r>
                        <a:rPr lang="de-DE" sz="1600" b="1" noProof="1">
                          <a:solidFill>
                            <a:srgbClr val="EA1B0A"/>
                          </a:solidFill>
                          <a:effectLst/>
                          <a:latin typeface="EON Brix Sans"/>
                        </a:rPr>
                        <a:t>Zwiększona trwałość</a:t>
                      </a:r>
                    </a:p>
                  </a:txBody>
                  <a:tcPr marT="35995" marB="35995" anchor="ctr">
                    <a:lnL w="0">
                      <a:noFill/>
                    </a:lnL>
                    <a:lnR w="12700">
                      <a:solidFill>
                        <a:srgbClr val="FFFFFF"/>
                      </a:solidFill>
                    </a:lnR>
                    <a:lnT w="12700">
                      <a:solidFill>
                        <a:srgbClr val="FFFFFF"/>
                      </a:solidFill>
                    </a:lnT>
                    <a:lnB w="9524">
                      <a:solidFill>
                        <a:srgbClr val="EA1B0A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>
                        <a:lnSpc>
                          <a:spcPts val="1950"/>
                        </a:lnSpc>
                        <a:buNone/>
                      </a:pPr>
                      <a:endParaRPr lang="de-DE" sz="1600" b="1">
                        <a:solidFill>
                          <a:srgbClr val="1A1A1A"/>
                        </a:solidFill>
                        <a:effectLst/>
                        <a:latin typeface="EON Brix Sans" panose="020B0500000000000000"/>
                      </a:endParaRPr>
                    </a:p>
                  </a:txBody>
                  <a:tcPr marT="35995" marB="35995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ts val="1950"/>
                        </a:lnSpc>
                        <a:buNone/>
                      </a:pPr>
                      <a:r>
                        <a:rPr lang="de-DE" sz="1600" b="1" i="0" u="none" strike="noStrike" noProof="1">
                          <a:solidFill>
                            <a:srgbClr val="EA1B0A"/>
                          </a:solidFill>
                          <a:effectLst/>
                          <a:latin typeface="EON Brix Sans" panose="020B0500000000000000"/>
                        </a:rPr>
                        <a:t>Przewody wysokotemperaturowe</a:t>
                      </a:r>
                      <a:endParaRPr lang="en-US"/>
                    </a:p>
                  </a:txBody>
                  <a:tcPr marT="35995" marB="3599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>
                        <a:lnSpc>
                          <a:spcPts val="1950"/>
                        </a:lnSpc>
                        <a:buNone/>
                      </a:pPr>
                      <a:endParaRPr lang="de-DE" sz="1600" b="1">
                        <a:solidFill>
                          <a:srgbClr val="1A1A1A"/>
                        </a:solidFill>
                        <a:effectLst/>
                        <a:latin typeface="EON Brix Sans" panose="020B0500000000000000"/>
                      </a:endParaRPr>
                    </a:p>
                  </a:txBody>
                  <a:tcPr marT="35995" marB="35995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ts val="1950"/>
                        </a:lnSpc>
                        <a:buNone/>
                      </a:pPr>
                      <a:r>
                        <a:rPr lang="de-DE" sz="1600" b="1" noProof="1">
                          <a:solidFill>
                            <a:srgbClr val="EA1B0A"/>
                          </a:solidFill>
                          <a:effectLst/>
                          <a:latin typeface="EON Brix Sans" panose="020B0500000000000000"/>
                        </a:rPr>
                        <a:t>Nowe technologie magazynowania energii</a:t>
                      </a:r>
                      <a:endParaRPr lang="en-US" noProof="1"/>
                    </a:p>
                  </a:txBody>
                  <a:tcPr marT="35995" marB="3599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1953759"/>
                  </a:ext>
                </a:extLst>
              </a:tr>
              <a:tr h="1648118">
                <a:tc>
                  <a:txBody>
                    <a:bodyPr/>
                    <a:lstStyle/>
                    <a:p>
                      <a:pPr marL="342900" lvl="0" indent="-342900" fontAlgn="base">
                        <a:lnSpc>
                          <a:spcPts val="16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b="0" i="0" u="none" strike="noStrike" noProof="1">
                          <a:solidFill>
                            <a:srgbClr val="1A1A1A"/>
                          </a:solidFill>
                          <a:effectLst/>
                          <a:latin typeface="EON Brix Sans"/>
                        </a:rPr>
                        <a:t>zastępowanie linii napowietrznych kablowymi</a:t>
                      </a:r>
                      <a:endParaRPr lang="de-DE" sz="1120" noProof="1">
                        <a:solidFill>
                          <a:srgbClr val="1A1A1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35995" marB="3599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ts val="1650"/>
                        </a:lnSpc>
                        <a:buFont typeface="Arial"/>
                        <a:buChar char="•"/>
                      </a:pPr>
                      <a:endParaRPr lang="de-DE" sz="1400" noProof="1">
                        <a:solidFill>
                          <a:srgbClr val="1A1A1A"/>
                        </a:solidFill>
                        <a:effectLst/>
                        <a:latin typeface="EON Brix Sans"/>
                      </a:endParaRPr>
                    </a:p>
                  </a:txBody>
                  <a:tcPr marT="35995" marB="35995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ts val="1650"/>
                        </a:lnSpc>
                        <a:buFont typeface="Arial"/>
                        <a:buChar char="•"/>
                      </a:pPr>
                      <a:r>
                        <a:rPr lang="de-DE" sz="1400" noProof="1">
                          <a:solidFill>
                            <a:srgbClr val="1A1A1A"/>
                          </a:solidFill>
                          <a:effectLst/>
                          <a:latin typeface="EON Brix Sans"/>
                        </a:rPr>
                        <a:t>zastosowanie materiałów o zwiększonej trwałości i odporności na zmienne warunki pogodowe</a:t>
                      </a:r>
                      <a:endParaRPr lang="en-US"/>
                    </a:p>
                    <a:p>
                      <a:pPr marL="342900" lvl="0" indent="-342900">
                        <a:lnSpc>
                          <a:spcPts val="1650"/>
                        </a:lnSpc>
                        <a:buFont typeface="Arial"/>
                        <a:buChar char="•"/>
                      </a:pPr>
                      <a:r>
                        <a:rPr lang="de-DE" sz="1400" noProof="1">
                          <a:solidFill>
                            <a:srgbClr val="1A1A1A"/>
                          </a:solidFill>
                          <a:effectLst/>
                          <a:latin typeface="EON Brix Sans"/>
                        </a:rPr>
                        <a:t>zapewnienie stabilności systemu</a:t>
                      </a:r>
                    </a:p>
                  </a:txBody>
                  <a:tcPr marT="35995" marB="35995">
                    <a:lnL w="0">
                      <a:noFill/>
                    </a:lnL>
                    <a:lnR w="12700">
                      <a:solidFill>
                        <a:srgbClr val="FFFFFF"/>
                      </a:solidFill>
                    </a:lnR>
                    <a:lnT w="9524">
                      <a:solidFill>
                        <a:srgbClr val="EA1B0A"/>
                      </a:solidFill>
                    </a:lnT>
                    <a:lnB w="9524">
                      <a:solidFill>
                        <a:srgbClr val="1A1A1A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>
                        <a:lnSpc>
                          <a:spcPts val="1575"/>
                        </a:lnSpc>
                        <a:buNone/>
                      </a:pPr>
                      <a:endParaRPr lang="de-DE" sz="1300">
                        <a:solidFill>
                          <a:srgbClr val="1A1A1A"/>
                        </a:solidFill>
                        <a:effectLst/>
                        <a:latin typeface="EON Brix Sans" panose="020B0500000000000000"/>
                      </a:endParaRPr>
                    </a:p>
                  </a:txBody>
                  <a:tcPr marT="35995" marB="3599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fontAlgn="base">
                        <a:lnSpc>
                          <a:spcPts val="16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b="0" i="0" u="none" strike="noStrike" noProof="1">
                          <a:solidFill>
                            <a:srgbClr val="1A1A1A"/>
                          </a:solidFill>
                          <a:effectLst/>
                          <a:latin typeface="EON Brix Sans"/>
                        </a:rPr>
                        <a:t>przewody wysokotemperaturowe zwiększające zdolności przesyłowe i elastyczność pracy sieci </a:t>
                      </a:r>
                      <a:endParaRPr lang="de-DE" sz="1400" noProof="1">
                        <a:solidFill>
                          <a:srgbClr val="1A1A1A"/>
                        </a:solidFill>
                        <a:effectLst/>
                        <a:latin typeface="EON Brix Sans"/>
                      </a:endParaRPr>
                    </a:p>
                  </a:txBody>
                  <a:tcPr marT="35995" marB="3599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>
                        <a:lnSpc>
                          <a:spcPts val="1575"/>
                        </a:lnSpc>
                        <a:buNone/>
                      </a:pPr>
                      <a:endParaRPr lang="de-DE" sz="1300">
                        <a:solidFill>
                          <a:srgbClr val="1A1A1A"/>
                        </a:solidFill>
                        <a:effectLst/>
                        <a:latin typeface="EON Brix Sans" panose="020B0500000000000000"/>
                      </a:endParaRPr>
                    </a:p>
                  </a:txBody>
                  <a:tcPr marT="35995" marB="3599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fontAlgn="base">
                        <a:lnSpc>
                          <a:spcPts val="16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solidFill>
                            <a:srgbClr val="1A1A1A"/>
                          </a:solidFill>
                          <a:effectLst/>
                          <a:latin typeface="EON Brix Sans"/>
                        </a:rPr>
                        <a:t>rozwój nowych technik magazynowania energii tj. baterie Li-jon, H2, baterie przepływowe, solne, wykorzystanie potencjału elektromobilności</a:t>
                      </a:r>
                      <a:endParaRPr lang="de-DE" sz="1100" noProof="1">
                        <a:solidFill>
                          <a:srgbClr val="1A1A1A"/>
                        </a:solidFill>
                        <a:effectLst/>
                        <a:latin typeface="Arial"/>
                      </a:endParaRPr>
                    </a:p>
                  </a:txBody>
                  <a:tcPr marT="35995" marB="3599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A1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230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5877208"/>
                  </a:ext>
                </a:extLst>
              </a:tr>
              <a:tr h="1472579">
                <a:tc>
                  <a:txBody>
                    <a:bodyPr/>
                    <a:lstStyle/>
                    <a:p>
                      <a:pPr marL="285750" lvl="0" indent="-285750">
                        <a:lnSpc>
                          <a:spcPts val="1650"/>
                        </a:lnSpc>
                        <a:buFont typeface="Arial"/>
                        <a:buChar char="•"/>
                      </a:pPr>
                      <a:r>
                        <a:rPr lang="de-DE" sz="1400" b="0" i="0" u="none" strike="noStrike" noProof="1">
                          <a:solidFill>
                            <a:srgbClr val="1A1A1A"/>
                          </a:solidFill>
                          <a:effectLst/>
                          <a:latin typeface="EON Brix Sans"/>
                        </a:rPr>
                        <a:t>podziemne kable jako kluczowe rozwiązanie dla przesyłu energii w miastach i terenach chronionych</a:t>
                      </a:r>
                      <a:endParaRPr lang="en-US"/>
                    </a:p>
                  </a:txBody>
                  <a:tcPr marT="35995" marB="3599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ts val="1650"/>
                        </a:lnSpc>
                        <a:buFont typeface="Arial"/>
                        <a:buChar char="•"/>
                      </a:pPr>
                      <a:endParaRPr lang="de-DE" sz="1400" noProof="1">
                        <a:solidFill>
                          <a:srgbClr val="1A1A1A"/>
                        </a:solidFill>
                        <a:effectLst/>
                        <a:latin typeface="EON Brix Sans"/>
                      </a:endParaRPr>
                    </a:p>
                  </a:txBody>
                  <a:tcPr marT="35995" marB="35995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ts val="1650"/>
                        </a:lnSpc>
                        <a:buFont typeface="Arial"/>
                        <a:buChar char="•"/>
                      </a:pPr>
                      <a:r>
                        <a:rPr lang="de-DE" sz="1400" b="0" i="0" u="none" strike="noStrike" noProof="1">
                          <a:solidFill>
                            <a:srgbClr val="1A1A1A"/>
                          </a:solidFill>
                          <a:effectLst/>
                          <a:latin typeface="EON Brix Sans"/>
                        </a:rPr>
                        <a:t>zwiększenie odporności na warunki atmosferyczne, poprawa bezpieczeństwa i estetyki otoczenia</a:t>
                      </a:r>
                      <a:endParaRPr lang="de-DE" sz="1400" noProof="1">
                        <a:solidFill>
                          <a:srgbClr val="1A1A1A"/>
                        </a:solidFill>
                        <a:effectLst/>
                        <a:latin typeface="EON Brix Sans"/>
                      </a:endParaRPr>
                    </a:p>
                  </a:txBody>
                  <a:tcPr marT="35995" marB="35995">
                    <a:lnL w="0">
                      <a:noFill/>
                    </a:lnL>
                    <a:lnR w="12700">
                      <a:solidFill>
                        <a:srgbClr val="FFFFFF"/>
                      </a:solidFill>
                    </a:lnR>
                    <a:lnT w="9524">
                      <a:solidFill>
                        <a:srgbClr val="1A1A1A"/>
                      </a:solidFill>
                    </a:lnT>
                    <a:lnB w="9524">
                      <a:solidFill>
                        <a:srgbClr val="1A1A1A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>
                        <a:lnSpc>
                          <a:spcPts val="1575"/>
                        </a:lnSpc>
                        <a:buNone/>
                      </a:pPr>
                      <a:endParaRPr lang="de-DE" sz="1300">
                        <a:solidFill>
                          <a:srgbClr val="1A1A1A"/>
                        </a:solidFill>
                        <a:effectLst/>
                        <a:latin typeface="EON Brix Sans" panose="020B0500000000000000"/>
                      </a:endParaRPr>
                    </a:p>
                  </a:txBody>
                  <a:tcPr marT="35995" marB="3599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fontAlgn="base">
                        <a:lnSpc>
                          <a:spcPts val="16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b="0" i="0" u="none" strike="noStrike" noProof="1">
                          <a:solidFill>
                            <a:srgbClr val="1A1A1A"/>
                          </a:solidFill>
                          <a:effectLst/>
                          <a:latin typeface="EON Brix Sans" panose="020B0500000000000000"/>
                        </a:rPr>
                        <a:t>zwiększenie elastyczności pracy sieci </a:t>
                      </a:r>
                    </a:p>
                  </a:txBody>
                  <a:tcPr marT="35995" marB="3599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>
                        <a:lnSpc>
                          <a:spcPts val="1575"/>
                        </a:lnSpc>
                        <a:buNone/>
                      </a:pPr>
                      <a:endParaRPr lang="de-DE" sz="1300">
                        <a:solidFill>
                          <a:srgbClr val="1A1A1A"/>
                        </a:solidFill>
                        <a:effectLst/>
                        <a:latin typeface="EON Brix Sans" panose="020B0500000000000000"/>
                      </a:endParaRPr>
                    </a:p>
                  </a:txBody>
                  <a:tcPr marT="35995" marB="3599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fontAlgn="base">
                        <a:lnSpc>
                          <a:spcPts val="16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e-DE" sz="1400" noProof="1">
                          <a:solidFill>
                            <a:srgbClr val="1A1A1A"/>
                          </a:solidFill>
                          <a:effectLst/>
                          <a:latin typeface="EON Brix Sans" panose="020B0500000000000000"/>
                        </a:rPr>
                        <a:t>stabilizacja sieci w przypadku gwałtownych zmian produkcji OZE</a:t>
                      </a:r>
                      <a:endParaRPr lang="de-DE" sz="1100" noProof="1">
                        <a:solidFill>
                          <a:srgbClr val="1A1A1A"/>
                        </a:solidFill>
                        <a:effectLst/>
                        <a:latin typeface="Arial"/>
                      </a:endParaRPr>
                    </a:p>
                  </a:txBody>
                  <a:tcPr marT="35995" marB="3599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230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230" cap="flat" cmpd="sng" algn="ctr">
                      <a:solidFill>
                        <a:srgbClr val="1A1A1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5729616"/>
                  </a:ext>
                </a:extLst>
              </a:tr>
            </a:tbl>
          </a:graphicData>
        </a:graphic>
      </p:graphicFrame>
      <p:pic>
        <p:nvPicPr>
          <p:cNvPr id="6" name="Grafika 15" descr="Bateria z wypełnieniem pełnym">
            <a:extLst>
              <a:ext uri="{FF2B5EF4-FFF2-40B4-BE49-F238E27FC236}">
                <a16:creationId xmlns:a16="http://schemas.microsoft.com/office/drawing/2014/main" id="{9E7401FE-16DC-4223-098A-B046CBD1DE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38685" y="1580540"/>
            <a:ext cx="696376" cy="696376"/>
          </a:xfrm>
          <a:prstGeom prst="rect">
            <a:avLst/>
          </a:prstGeom>
        </p:spPr>
      </p:pic>
      <p:pic>
        <p:nvPicPr>
          <p:cNvPr id="12" name="Grafika 16" descr="Termometr z wypełnieniem pełnym">
            <a:extLst>
              <a:ext uri="{FF2B5EF4-FFF2-40B4-BE49-F238E27FC236}">
                <a16:creationId xmlns:a16="http://schemas.microsoft.com/office/drawing/2014/main" id="{249C2918-2D39-EC4A-630D-EDFF50B0AB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95178" y="1580436"/>
            <a:ext cx="696376" cy="696376"/>
          </a:xfrm>
          <a:prstGeom prst="rect">
            <a:avLst/>
          </a:prstGeom>
        </p:spPr>
      </p:pic>
      <p:pic>
        <p:nvPicPr>
          <p:cNvPr id="18" name="Grafika 18" descr="USB z wypełnieniem pełnym">
            <a:extLst>
              <a:ext uri="{FF2B5EF4-FFF2-40B4-BE49-F238E27FC236}">
                <a16:creationId xmlns:a16="http://schemas.microsoft.com/office/drawing/2014/main" id="{C4C8DA9E-F85E-4DC3-79A0-62510B21E7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86793" y="1579192"/>
            <a:ext cx="696376" cy="696376"/>
          </a:xfrm>
          <a:prstGeom prst="rect">
            <a:avLst/>
          </a:prstGeom>
        </p:spPr>
      </p:pic>
      <p:pic>
        <p:nvPicPr>
          <p:cNvPr id="20" name="Grafika 19" descr="Chmura z piorunem i deszczem z wypełnieniem pełnym">
            <a:extLst>
              <a:ext uri="{FF2B5EF4-FFF2-40B4-BE49-F238E27FC236}">
                <a16:creationId xmlns:a16="http://schemas.microsoft.com/office/drawing/2014/main" id="{E3B77005-52FC-4000-3AE4-8F08506F09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71609" y="1580540"/>
            <a:ext cx="696376" cy="696376"/>
          </a:xfrm>
          <a:prstGeom prst="rect">
            <a:avLst/>
          </a:prstGeom>
        </p:spPr>
      </p:pic>
      <p:sp>
        <p:nvSpPr>
          <p:cNvPr id="4" name="Symbol zastępczy stopki 1">
            <a:extLst>
              <a:ext uri="{FF2B5EF4-FFF2-40B4-BE49-F238E27FC236}">
                <a16:creationId xmlns:a16="http://schemas.microsoft.com/office/drawing/2014/main" id="{76E78940-5519-281D-5DFB-C98087445A13}"/>
              </a:ext>
            </a:extLst>
          </p:cNvPr>
          <p:cNvSpPr txBox="1">
            <a:spLocks/>
          </p:cNvSpPr>
          <p:nvPr/>
        </p:nvSpPr>
        <p:spPr bwMode="gray">
          <a:xfrm>
            <a:off x="606782" y="6399969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16879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DDFA6F3-4E60-35F9-F6DA-621728797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Biblioteka slajdów Stoen Operato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AEFFDB-4C84-129A-ED14-0A94588C5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9</a:t>
            </a:fld>
            <a:endParaRPr lang="en-GB" noProof="0"/>
          </a:p>
        </p:txBody>
      </p:sp>
      <p:pic>
        <p:nvPicPr>
          <p:cNvPr id="4" name="Obraz 6" descr="Obraz zawierający tekst, mapa, diagram, Czcionka&#10;&#10;Opis wygenerowany automatycznie">
            <a:extLst>
              <a:ext uri="{FF2B5EF4-FFF2-40B4-BE49-F238E27FC236}">
                <a16:creationId xmlns:a16="http://schemas.microsoft.com/office/drawing/2014/main" id="{6E74C75D-FA26-C30E-3A6A-3B645F5B51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035634"/>
            <a:ext cx="9203041" cy="5309603"/>
          </a:xfrm>
          <a:prstGeom prst="rect">
            <a:avLst/>
          </a:prstGeom>
        </p:spPr>
      </p:pic>
      <p:sp>
        <p:nvSpPr>
          <p:cNvPr id="11" name="Titel 3">
            <a:extLst>
              <a:ext uri="{FF2B5EF4-FFF2-40B4-BE49-F238E27FC236}">
                <a16:creationId xmlns:a16="http://schemas.microsoft.com/office/drawing/2014/main" id="{6CE7CA09-FA9C-358C-D7D2-0E1945550B98}"/>
              </a:ext>
            </a:extLst>
          </p:cNvPr>
          <p:cNvSpPr>
            <a:spLocks noGrp="1"/>
          </p:cNvSpPr>
          <p:nvPr/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noProof="1">
                <a:solidFill>
                  <a:schemeClr val="accent1"/>
                </a:solidFill>
              </a:rPr>
              <a:t>Rozwój sieci dystrybucyjnej w planach Stoen Operator</a:t>
            </a:r>
            <a:endParaRPr lang="en-US">
              <a:solidFill>
                <a:schemeClr val="accent1"/>
              </a:solidFill>
            </a:endParaRPr>
          </a:p>
          <a:p>
            <a:endParaRPr lang="pl-PL" noProof="1">
              <a:solidFill>
                <a:schemeClr val="accent1"/>
              </a:solidFill>
            </a:endParaRP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84BF40C4-DB8A-B781-1F9B-79A9962F1BFF}"/>
              </a:ext>
            </a:extLst>
          </p:cNvPr>
          <p:cNvSpPr>
            <a:spLocks noGrp="1"/>
          </p:cNvSpPr>
          <p:nvPr/>
        </p:nvSpPr>
        <p:spPr bwMode="gray">
          <a:xfrm>
            <a:off x="8623683" y="1037198"/>
            <a:ext cx="3088892" cy="5308040"/>
          </a:xfrm>
          <a:prstGeom prst="rect">
            <a:avLst/>
          </a:prstGeom>
          <a:solidFill>
            <a:srgbClr val="F8F5F2"/>
          </a:solidFill>
        </p:spPr>
        <p:txBody>
          <a:bodyPr vert="horz" lIns="180000" tIns="144000" rIns="180000" bIns="144000" rtlCol="0" anchor="t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noProof="1"/>
              <a:t>Inwestycje modernizacyjne</a:t>
            </a: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62. Przebudowa linii 110 kV Piaseczno – Konstancin – Natolin – Wilanów – Elektrociepłownia Siekierki</a:t>
            </a:r>
            <a:endParaRPr lang="en-US" sz="1000" noProof="1">
              <a:solidFill>
                <a:srgbClr val="1A1A1A"/>
              </a:solidFill>
            </a:endParaRP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63. Przebudowa linii 110 kV Elektrociepłownia Siekierki – Międzylesie – Miłosna</a:t>
            </a:r>
            <a:endParaRPr lang="en-US" sz="1000" noProof="1">
              <a:solidFill>
                <a:srgbClr val="1A1A1A"/>
              </a:solidFill>
            </a:endParaRP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64. Przebudowa linii 110 kV Piaseczno – Serwerownia Sękocin oraz odcinki Serwerownia Sękocin – stacja w rejonie Warszawy – Ursus Miasto – Mory i Serwerownia Sękocin – stacja w rejonie Warszawy– Szamoty – Mory </a:t>
            </a:r>
            <a:endParaRPr lang="en-US" sz="1000" noProof="1">
              <a:solidFill>
                <a:srgbClr val="1A1A1A"/>
              </a:solidFill>
            </a:endParaRP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65. Przebudowa linii 110 kV Wschodnia – Olszynka Grochowska – Międzylesie</a:t>
            </a:r>
            <a:endParaRPr lang="en-US" sz="1000" noProof="1">
              <a:solidFill>
                <a:srgbClr val="1A1A1A"/>
              </a:solidFill>
            </a:endParaRP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66. Przebudowa linii 110 kV Mory – Wola – Armatnia – Zachodnia – Gdańska – Praga</a:t>
            </a:r>
            <a:endParaRPr lang="en-US" sz="1000" noProof="1">
              <a:solidFill>
                <a:srgbClr val="1A1A1A"/>
              </a:solidFill>
            </a:endParaRP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67. Przebudowa linii 110 kV Praga – Targówek – Wschodnia – Kawęczyn – Sulejówek – Miłosna</a:t>
            </a:r>
            <a:endParaRPr lang="en-US" sz="1000" noProof="1">
              <a:solidFill>
                <a:srgbClr val="1A1A1A"/>
              </a:solidFill>
            </a:endParaRP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68. Przebudowa linii 110 kV Elektrociepłownia Siekierki – Ursynów – Imielin – Służewiec – Południowa</a:t>
            </a:r>
            <a:endParaRPr lang="en-US" sz="1000" noProof="1">
              <a:solidFill>
                <a:srgbClr val="1A1A1A"/>
              </a:solidFill>
            </a:endParaRP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69. Przebudowa linii 110 kV Kaliszówka – Mościska </a:t>
            </a:r>
            <a:endParaRPr lang="en-US" sz="1000" noProof="1">
              <a:solidFill>
                <a:srgbClr val="1A1A1A"/>
              </a:solidFill>
            </a:endParaRP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70. Przebudowa linii 110 kV Mory – Babice – Mościska</a:t>
            </a:r>
            <a:endParaRPr lang="en-US" sz="1000" noProof="1">
              <a:solidFill>
                <a:srgbClr val="1A1A1A"/>
              </a:solidFill>
            </a:endParaRP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71. Przebudowa linii 110 kV Mościska – Huta Warszawa – Henryków – Tarchomin – Praga</a:t>
            </a:r>
            <a:endParaRPr lang="en-US" sz="1000" noProof="1">
              <a:solidFill>
                <a:srgbClr val="1A1A1A"/>
              </a:solidFill>
            </a:endParaRP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127. Przebudowa linii 110 kV Elektrociepłownia Siekierki – Sielce</a:t>
            </a:r>
            <a:endParaRPr lang="en-US" sz="1000" noProof="1">
              <a:solidFill>
                <a:srgbClr val="1A1A1A"/>
              </a:solidFill>
            </a:endParaRP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128. Przebudowa linii 110 kV Elektrociepłownia Siekierki – Gocław – Grochów</a:t>
            </a:r>
            <a:endParaRPr lang="en-US" sz="1000" noProof="1">
              <a:solidFill>
                <a:srgbClr val="1A1A1A"/>
              </a:solidFill>
            </a:endParaRPr>
          </a:p>
          <a:p>
            <a: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pl-PL" sz="1000" noProof="1">
                <a:solidFill>
                  <a:srgbClr val="262626"/>
                </a:solidFill>
              </a:rPr>
              <a:t>129. Przebudowa linii 110 kV Elektrownia Siekierki – Batory – Stegny</a:t>
            </a:r>
            <a:endParaRPr lang="pl-PL" dirty="0"/>
          </a:p>
        </p:txBody>
      </p:sp>
      <p:sp>
        <p:nvSpPr>
          <p:cNvPr id="5" name="Symbol zastępczy stopki 1">
            <a:extLst>
              <a:ext uri="{FF2B5EF4-FFF2-40B4-BE49-F238E27FC236}">
                <a16:creationId xmlns:a16="http://schemas.microsoft.com/office/drawing/2014/main" id="{278D31BB-59D6-71C2-650A-ADF4A601575B}"/>
              </a:ext>
            </a:extLst>
          </p:cNvPr>
          <p:cNvSpPr txBox="1">
            <a:spLocks/>
          </p:cNvSpPr>
          <p:nvPr/>
        </p:nvSpPr>
        <p:spPr bwMode="gray">
          <a:xfrm>
            <a:off x="561062" y="6573705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/>
              <a:t>Specustawa, październik 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4271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0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EKGUID" val="eb6f9806-6aca-42a5-a15d-21eb542aa4f3"/>
  <p:tag name="MIO_DBID" val="D7590C14-188D-4365-94A4-B777FB29057E"/>
  <p:tag name="MIO_OBJECTNAME" val="# E.ON"/>
  <p:tag name="MIO_NUMBER_OF_VALID_LAYOUTS" val="27"/>
  <p:tag name="MIO_VERSION" val="20.06.2023 11:00:13"/>
  <p:tag name="MIO_LASTDOWNLOADED" val="01.08.2023 07:08:57.546"/>
  <p:tag name="MIO_CDID" val="4d0307e6-a3f9-4dd6-817a-a971db26404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0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EKGUID" val="eb6f9806-6aca-42a5-a15d-21eb542aa4f3"/>
  <p:tag name="MIO_DBID" val="D7590C14-188D-4365-94A4-B777FB29057E"/>
  <p:tag name="MIO_OBJECTNAME" val="# E.ON"/>
  <p:tag name="MIO_NUMBER_OF_VALID_LAYOUTS" val="27"/>
  <p:tag name="MIO_VERSION" val="20.06.2023 11:00:13"/>
  <p:tag name="MIO_LASTDOWNLOADED" val="01.08.2023 07:08:57.546"/>
  <p:tag name="MIO_CDID" val="4d0307e6-a3f9-4dd6-817a-a971db26404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4_Standarddesign">
  <a:themeElements>
    <a:clrScheme name="4_Standarddesign 1">
      <a:dk1>
        <a:srgbClr val="000000"/>
      </a:dk1>
      <a:lt1>
        <a:srgbClr val="FFFFFF"/>
      </a:lt1>
      <a:dk2>
        <a:srgbClr val="FFE600"/>
      </a:dk2>
      <a:lt2>
        <a:srgbClr val="565A5E"/>
      </a:lt2>
      <a:accent1>
        <a:srgbClr val="0050A6"/>
      </a:accent1>
      <a:accent2>
        <a:srgbClr val="3D67AE"/>
      </a:accent2>
      <a:accent3>
        <a:srgbClr val="FFFFFF"/>
      </a:accent3>
      <a:accent4>
        <a:srgbClr val="000000"/>
      </a:accent4>
      <a:accent5>
        <a:srgbClr val="AAB3D0"/>
      </a:accent5>
      <a:accent6>
        <a:srgbClr val="365D9D"/>
      </a:accent6>
      <a:hlink>
        <a:srgbClr val="99CCFF"/>
      </a:hlink>
      <a:folHlink>
        <a:srgbClr val="99BADD"/>
      </a:folHlink>
    </a:clrScheme>
    <a:fontScheme name="4_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100000"/>
          </a:spcAft>
          <a:buClr>
            <a:schemeClr val="accent1"/>
          </a:buClr>
          <a:buSzTx/>
          <a:buFont typeface="Arial" charset="0"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100000"/>
          </a:spcAft>
          <a:buClr>
            <a:schemeClr val="accent1"/>
          </a:buClr>
          <a:buSzTx/>
          <a:buFont typeface="Arial" charset="0"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4_Standarddesign 1">
        <a:dk1>
          <a:srgbClr val="000000"/>
        </a:dk1>
        <a:lt1>
          <a:srgbClr val="FFFFFF"/>
        </a:lt1>
        <a:dk2>
          <a:srgbClr val="FFE600"/>
        </a:dk2>
        <a:lt2>
          <a:srgbClr val="565A5E"/>
        </a:lt2>
        <a:accent1>
          <a:srgbClr val="0050A6"/>
        </a:accent1>
        <a:accent2>
          <a:srgbClr val="3D67AE"/>
        </a:accent2>
        <a:accent3>
          <a:srgbClr val="FFFFFF"/>
        </a:accent3>
        <a:accent4>
          <a:srgbClr val="000000"/>
        </a:accent4>
        <a:accent5>
          <a:srgbClr val="AAB3D0"/>
        </a:accent5>
        <a:accent6>
          <a:srgbClr val="365D9D"/>
        </a:accent6>
        <a:hlink>
          <a:srgbClr val="99CCFF"/>
        </a:hlink>
        <a:folHlink>
          <a:srgbClr val="99BA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E.ON">
  <a:themeElements>
    <a:clrScheme name="Niestandardowy 1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27A9FF"/>
      </a:accent5>
      <a:accent6>
        <a:srgbClr val="7ACAFF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ctr"/>
      <a:lstStyle>
        <a:defPPr algn="ctr" defTabSz="540000">
          <a:lnSpc>
            <a:spcPct val="120000"/>
          </a:lnSpc>
          <a:spcAft>
            <a:spcPts val="400"/>
          </a:spcAft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defTabSz="540000">
          <a:lnSpc>
            <a:spcPct val="120000"/>
          </a:lnSpc>
          <a:spcAft>
            <a:spcPts val="400"/>
          </a:spcAft>
          <a:defRPr dirty="0"/>
        </a:defPPr>
      </a:lstStyle>
    </a:txDef>
  </a:objectDefaults>
  <a:extraClrSchemeLst/>
  <a:custClrLst>
    <a:custClr name="Red 100">
      <a:srgbClr val="F6E5DC"/>
    </a:custClr>
    <a:custClr name="Red 200">
      <a:srgbClr val="F6C1B0"/>
    </a:custClr>
    <a:custClr name="Red 300">
      <a:srgbClr val="F59A86"/>
    </a:custClr>
    <a:custClr name="Red 400">
      <a:srgbClr val="F05B48"/>
    </a:custClr>
    <a:custClr name="Red 500">
      <a:srgbClr val="EA1B0A"/>
    </a:custClr>
    <a:custClr name="Red 600">
      <a:srgbClr val="C41708"/>
    </a:custClr>
    <a:custClr name="Red 700">
      <a:srgbClr val="9D1207"/>
    </a:custClr>
    <a:custClr name="Red 800">
      <a:srgbClr val="750E05"/>
    </a:custClr>
    <a:custClr name="Red 900">
      <a:srgbClr val="4E0903"/>
    </a:custClr>
    <a:custClr>
      <a:srgbClr val="FFFFFF"/>
    </a:custClr>
    <a:custClr name="Purple 100">
      <a:srgbClr val="F0D8EB"/>
    </a:custClr>
    <a:custClr name="Purple 200">
      <a:srgbClr val="DBA6D1"/>
    </a:custClr>
    <a:custClr name="Purple 300">
      <a:srgbClr val="CA6FBA"/>
    </a:custClr>
    <a:custClr name="Purple 400">
      <a:srgbClr val="B0429D"/>
    </a:custClr>
    <a:custClr name="Purple 500">
      <a:srgbClr val="961482"/>
    </a:custClr>
    <a:custClr name="Purple 600">
      <a:srgbClr val="821171"/>
    </a:custClr>
    <a:custClr name="Purple 700">
      <a:srgbClr val="710F62"/>
    </a:custClr>
    <a:custClr name="Purple 800">
      <a:srgbClr val="5F0C52"/>
    </a:custClr>
    <a:custClr name="Purple 900">
      <a:srgbClr val="4D0A42"/>
    </a:custClr>
    <a:custClr>
      <a:srgbClr val="FFFFFF"/>
    </a:custClr>
    <a:custClr name="Grey 100">
      <a:srgbClr val="F8F5F2"/>
    </a:custClr>
    <a:custClr name="Grey 200">
      <a:srgbClr val="F0EBE5"/>
    </a:custClr>
    <a:custClr name="Grey 300">
      <a:srgbClr val="D7D0CC"/>
    </a:custClr>
    <a:custClr name="Grey 400">
      <a:srgbClr val="B3ACA9"/>
    </a:custClr>
    <a:custClr name="Grey 500">
      <a:srgbClr val="958D8B"/>
    </a:custClr>
    <a:custClr name="Grey 600">
      <a:srgbClr val="767676"/>
    </a:custClr>
    <a:custClr name="Grey 700">
      <a:srgbClr val="5C5C5C"/>
    </a:custClr>
    <a:custClr name="Grey 800">
      <a:srgbClr val="404040"/>
    </a:custClr>
    <a:custClr name="Grey 900">
      <a:srgbClr val="262626"/>
    </a:custClr>
    <a:custClr>
      <a:srgbClr val="FFFFFF"/>
    </a:custClr>
    <a:custClr name="Blue 100">
      <a:srgbClr val="CCEBFF"/>
    </a:custClr>
    <a:custClr name="Blue 200">
      <a:srgbClr val="A3DAFF"/>
    </a:custClr>
    <a:custClr name="Blue 300">
      <a:srgbClr val="7ACAFF"/>
    </a:custClr>
    <a:custClr name="Blue 400">
      <a:srgbClr val="52BAFF"/>
    </a:custClr>
    <a:custClr name="Blue 500">
      <a:srgbClr val="27A9FF"/>
    </a:custClr>
    <a:custClr name="Blue 600">
      <a:srgbClr val="0093F5"/>
    </a:custClr>
    <a:custClr name="Blue 700">
      <a:srgbClr val="0075C2"/>
    </a:custClr>
    <a:custClr name="Blue 800">
      <a:srgbClr val="00568F"/>
    </a:custClr>
    <a:custClr name="Blue 900">
      <a:srgbClr val="00375C"/>
    </a:custClr>
    <a:custClr>
      <a:srgbClr val="FFFFFF"/>
    </a:custClr>
  </a:custClrLst>
  <a:extLst>
    <a:ext uri="{05A4C25C-085E-4340-85A3-A5531E510DB2}">
      <thm15:themeFamily xmlns:thm15="http://schemas.microsoft.com/office/thememl/2012/main" name="EON_Presentation_2024-05-02.pptx" id="{0206D5E6-5062-4286-A867-5B217FA8F690}" vid="{91EED338-B89F-41DA-BC56-111418877839}"/>
    </a:ext>
  </a:extLst>
</a:theme>
</file>

<file path=ppt/theme/theme3.xml><?xml version="1.0" encoding="utf-8"?>
<a:theme xmlns:a="http://schemas.openxmlformats.org/drawingml/2006/main" name="E.ON">
  <a:themeElements>
    <a:clrScheme name="Niestandardowy 1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27A9FF"/>
      </a:accent5>
      <a:accent6>
        <a:srgbClr val="7ACAFF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ctr"/>
      <a:lstStyle>
        <a:defPPr algn="ctr" defTabSz="540000">
          <a:lnSpc>
            <a:spcPct val="120000"/>
          </a:lnSpc>
          <a:spcAft>
            <a:spcPts val="400"/>
          </a:spcAft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defTabSz="540000">
          <a:lnSpc>
            <a:spcPct val="120000"/>
          </a:lnSpc>
          <a:spcAft>
            <a:spcPts val="400"/>
          </a:spcAft>
          <a:defRPr dirty="0"/>
        </a:defPPr>
      </a:lstStyle>
    </a:txDef>
  </a:objectDefaults>
  <a:extraClrSchemeLst/>
  <a:custClrLst>
    <a:custClr name="Red 100">
      <a:srgbClr val="F6E5DC"/>
    </a:custClr>
    <a:custClr name="Red 200">
      <a:srgbClr val="F6C1B0"/>
    </a:custClr>
    <a:custClr name="Red 300">
      <a:srgbClr val="F59A86"/>
    </a:custClr>
    <a:custClr name="Red 400">
      <a:srgbClr val="F05B48"/>
    </a:custClr>
    <a:custClr name="Red 500">
      <a:srgbClr val="EA1B0A"/>
    </a:custClr>
    <a:custClr name="Red 600">
      <a:srgbClr val="C41708"/>
    </a:custClr>
    <a:custClr name="Red 700">
      <a:srgbClr val="9D1207"/>
    </a:custClr>
    <a:custClr name="Red 800">
      <a:srgbClr val="750E05"/>
    </a:custClr>
    <a:custClr name="Red 900">
      <a:srgbClr val="4E0903"/>
    </a:custClr>
    <a:custClr>
      <a:srgbClr val="FFFFFF"/>
    </a:custClr>
    <a:custClr name="Purple 100">
      <a:srgbClr val="F0D8EB"/>
    </a:custClr>
    <a:custClr name="Purple 200">
      <a:srgbClr val="DBA6D1"/>
    </a:custClr>
    <a:custClr name="Purple 300">
      <a:srgbClr val="CA6FBA"/>
    </a:custClr>
    <a:custClr name="Purple 400">
      <a:srgbClr val="B0429D"/>
    </a:custClr>
    <a:custClr name="Purple 500">
      <a:srgbClr val="961482"/>
    </a:custClr>
    <a:custClr name="Purple 600">
      <a:srgbClr val="821171"/>
    </a:custClr>
    <a:custClr name="Purple 700">
      <a:srgbClr val="710F62"/>
    </a:custClr>
    <a:custClr name="Purple 800">
      <a:srgbClr val="5F0C52"/>
    </a:custClr>
    <a:custClr name="Purple 900">
      <a:srgbClr val="4D0A42"/>
    </a:custClr>
    <a:custClr>
      <a:srgbClr val="FFFFFF"/>
    </a:custClr>
    <a:custClr name="Grey 100">
      <a:srgbClr val="F8F5F2"/>
    </a:custClr>
    <a:custClr name="Grey 200">
      <a:srgbClr val="F0EBE5"/>
    </a:custClr>
    <a:custClr name="Grey 300">
      <a:srgbClr val="D7D0CC"/>
    </a:custClr>
    <a:custClr name="Grey 400">
      <a:srgbClr val="B3ACA9"/>
    </a:custClr>
    <a:custClr name="Grey 500">
      <a:srgbClr val="958D8B"/>
    </a:custClr>
    <a:custClr name="Grey 600">
      <a:srgbClr val="767676"/>
    </a:custClr>
    <a:custClr name="Grey 700">
      <a:srgbClr val="5C5C5C"/>
    </a:custClr>
    <a:custClr name="Grey 800">
      <a:srgbClr val="404040"/>
    </a:custClr>
    <a:custClr name="Grey 900">
      <a:srgbClr val="262626"/>
    </a:custClr>
    <a:custClr>
      <a:srgbClr val="FFFFFF"/>
    </a:custClr>
    <a:custClr name="Blue 100">
      <a:srgbClr val="CCEBFF"/>
    </a:custClr>
    <a:custClr name="Blue 200">
      <a:srgbClr val="A3DAFF"/>
    </a:custClr>
    <a:custClr name="Blue 300">
      <a:srgbClr val="7ACAFF"/>
    </a:custClr>
    <a:custClr name="Blue 400">
      <a:srgbClr val="52BAFF"/>
    </a:custClr>
    <a:custClr name="Blue 500">
      <a:srgbClr val="27A9FF"/>
    </a:custClr>
    <a:custClr name="Blue 600">
      <a:srgbClr val="0093F5"/>
    </a:custClr>
    <a:custClr name="Blue 700">
      <a:srgbClr val="0075C2"/>
    </a:custClr>
    <a:custClr name="Blue 800">
      <a:srgbClr val="00568F"/>
    </a:custClr>
    <a:custClr name="Blue 900">
      <a:srgbClr val="00375C"/>
    </a:custClr>
    <a:custClr>
      <a:srgbClr val="FFFFFF"/>
    </a:custClr>
  </a:custClrLst>
  <a:extLst>
    <a:ext uri="{05A4C25C-085E-4340-85A3-A5531E510DB2}">
      <thm15:themeFamily xmlns:thm15="http://schemas.microsoft.com/office/thememl/2012/main" name="EON_Presentation_2024-05-02.pptx" id="{0206D5E6-5062-4286-A867-5B217FA8F690}" vid="{91EED338-B89F-41DA-BC56-111418877839}"/>
    </a:ext>
  </a:extLst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95708EE2080B4CB5F8E82CB8E71A39" ma:contentTypeVersion="4" ma:contentTypeDescription="Create a new document." ma:contentTypeScope="" ma:versionID="8ac4e4d92fc55085a7e74317d33d58a1">
  <xsd:schema xmlns:xsd="http://www.w3.org/2001/XMLSchema" xmlns:xs="http://www.w3.org/2001/XMLSchema" xmlns:p="http://schemas.microsoft.com/office/2006/metadata/properties" xmlns:ns2="1fe42750-6117-42ca-afe2-b2b664185bdd" targetNamespace="http://schemas.microsoft.com/office/2006/metadata/properties" ma:root="true" ma:fieldsID="126d7ae3a10dabe094b8e688b11a3d8c" ns2:_="">
    <xsd:import namespace="1fe42750-6117-42ca-afe2-b2b664185b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e42750-6117-42ca-afe2-b2b664185bd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F5CA888-5830-4790-B307-E7AD2F1EE6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e42750-6117-42ca-afe2-b2b664185b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ECC3439-414F-4BF5-B28E-93EA74CCB5CA}">
  <ds:schemaRefs>
    <ds:schemaRef ds:uri="887a3ca5-0081-412b-8eaf-45ee38d7e26a"/>
    <ds:schemaRef ds:uri="bbf0d973-0d4e-4a41-94a3-6137d7a1418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5F476CF-B433-4BBC-B322-5111444A17E1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42f063bf-ce3a-473c-8609-3866002c85b0}" enabled="1" method="Standard" siteId="{b914a242-e718-443b-a47c-6b4c649d8c0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532</TotalTime>
  <Words>1483</Words>
  <Application>Microsoft Office PowerPoint</Application>
  <PresentationFormat>Panoramiczny</PresentationFormat>
  <Paragraphs>250</Paragraphs>
  <Slides>20</Slides>
  <Notes>5</Notes>
  <HiddenSlides>0</HiddenSlides>
  <MMClips>0</MMClips>
  <ScaleCrop>false</ScaleCrop>
  <HeadingPairs>
    <vt:vector size="8" baseType="variant">
      <vt:variant>
        <vt:lpstr>Używane czcionki</vt:lpstr>
      </vt:variant>
      <vt:variant>
        <vt:i4>6</vt:i4>
      </vt:variant>
      <vt:variant>
        <vt:lpstr>Motyw</vt:lpstr>
      </vt:variant>
      <vt:variant>
        <vt:i4>3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0</vt:i4>
      </vt:variant>
    </vt:vector>
  </HeadingPairs>
  <TitlesOfParts>
    <vt:vector size="30" baseType="lpstr">
      <vt:lpstr>Arial</vt:lpstr>
      <vt:lpstr>Arial,Sans-Serif</vt:lpstr>
      <vt:lpstr>Calibri</vt:lpstr>
      <vt:lpstr>Courier New</vt:lpstr>
      <vt:lpstr>EON Brix Sans</vt:lpstr>
      <vt:lpstr>EON Brix Sans Black</vt:lpstr>
      <vt:lpstr>4_Standarddesign</vt:lpstr>
      <vt:lpstr>E.ON</vt:lpstr>
      <vt:lpstr>E.ON</vt:lpstr>
      <vt:lpstr>think-cell Slide</vt:lpstr>
      <vt:lpstr>Komunikacja projektów strategicznych. Specustawa</vt:lpstr>
      <vt:lpstr>Dlaczego?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Jak?</vt:lpstr>
      <vt:lpstr>Prezentacja programu PowerPoint</vt:lpstr>
      <vt:lpstr>Prezentacja programu PowerPoint</vt:lpstr>
      <vt:lpstr>Prezentacja programu PowerPoint</vt:lpstr>
      <vt:lpstr>Projekt komunikacji w pigułce</vt:lpstr>
      <vt:lpstr>Prezentacja programu PowerPoint</vt:lpstr>
      <vt:lpstr>Prezentacja programu PowerPoint</vt:lpstr>
      <vt:lpstr>Prezentacja programu PowerPoint</vt:lpstr>
      <vt:lpstr>Decyzja lokalizacyjna planowane inwestycje - przykłady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EX Stoen Operator</dc:title>
  <dc:creator>Bujakowski, Dymitr</dc:creator>
  <cp:lastModifiedBy>Sokołowska, Joanna</cp:lastModifiedBy>
  <cp:revision>66</cp:revision>
  <dcterms:created xsi:type="dcterms:W3CDTF">2022-01-18T06:33:52Z</dcterms:created>
  <dcterms:modified xsi:type="dcterms:W3CDTF">2025-10-21T08:1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95708EE2080B4CB5F8E82CB8E71A39</vt:lpwstr>
  </property>
  <property fmtid="{D5CDD505-2E9C-101B-9397-08002B2CF9AE}" pid="3" name="Order">
    <vt:lpwstr>4140000.00000000</vt:lpwstr>
  </property>
  <property fmtid="{D5CDD505-2E9C-101B-9397-08002B2CF9AE}" pid="4" name="MediaServiceImageTags">
    <vt:lpwstr/>
  </property>
</Properties>
</file>